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customXml/itemProps242.xml" ContentType="application/vnd.openxmlformats-officedocument.customXmlProperties+xml"/>
  <Override PartName="/customXml/itemProps243.xml" ContentType="application/vnd.openxmlformats-officedocument.customXmlProperties+xml"/>
  <Override PartName="/customXml/itemProps244.xml" ContentType="application/vnd.openxmlformats-officedocument.customXmlProperties+xml"/>
  <Override PartName="/customXml/itemProps245.xml" ContentType="application/vnd.openxmlformats-officedocument.customXmlProperties+xml"/>
  <Override PartName="/customXml/itemProps246.xml" ContentType="application/vnd.openxmlformats-officedocument.customXmlProperties+xml"/>
  <Override PartName="/customXml/itemProps247.xml" ContentType="application/vnd.openxmlformats-officedocument.customXmlProperties+xml"/>
  <Override PartName="/customXml/itemProps248.xml" ContentType="application/vnd.openxmlformats-officedocument.customXmlProperties+xml"/>
  <Override PartName="/customXml/itemProps249.xml" ContentType="application/vnd.openxmlformats-officedocument.customXmlProperties+xml"/>
  <Override PartName="/customXml/itemProps250.xml" ContentType="application/vnd.openxmlformats-officedocument.customXmlProperties+xml"/>
  <Override PartName="/customXml/itemProps251.xml" ContentType="application/vnd.openxmlformats-officedocument.customXmlProperties+xml"/>
  <Override PartName="/customXml/itemProps252.xml" ContentType="application/vnd.openxmlformats-officedocument.customXmlProperties+xml"/>
  <Override PartName="/customXml/itemProps253.xml" ContentType="application/vnd.openxmlformats-officedocument.customXmlProperties+xml"/>
  <Override PartName="/customXml/itemProps254.xml" ContentType="application/vnd.openxmlformats-officedocument.customXmlProperties+xml"/>
  <Override PartName="/customXml/itemProps255.xml" ContentType="application/vnd.openxmlformats-officedocument.customXmlProperties+xml"/>
  <Override PartName="/customXml/itemProps256.xml" ContentType="application/vnd.openxmlformats-officedocument.customXmlProperties+xml"/>
  <Override PartName="/customXml/itemProps257.xml" ContentType="application/vnd.openxmlformats-officedocument.customXmlProperties+xml"/>
  <Override PartName="/customXml/itemProps258.xml" ContentType="application/vnd.openxmlformats-officedocument.customXmlProperties+xml"/>
  <Override PartName="/customXml/itemProps259.xml" ContentType="application/vnd.openxmlformats-officedocument.customXmlProperties+xml"/>
  <Override PartName="/customXml/itemProps260.xml" ContentType="application/vnd.openxmlformats-officedocument.customXmlProperties+xml"/>
  <Override PartName="/customXml/itemProps261.xml" ContentType="application/vnd.openxmlformats-officedocument.customXmlProperties+xml"/>
  <Override PartName="/customXml/itemProps262.xml" ContentType="application/vnd.openxmlformats-officedocument.customXmlProperties+xml"/>
  <Override PartName="/customXml/itemProps263.xml" ContentType="application/vnd.openxmlformats-officedocument.customXmlProperties+xml"/>
  <Override PartName="/customXml/itemProps264.xml" ContentType="application/vnd.openxmlformats-officedocument.customXmlProperties+xml"/>
  <Override PartName="/customXml/itemProps265.xml" ContentType="application/vnd.openxmlformats-officedocument.customXmlProperties+xml"/>
  <Override PartName="/customXml/itemProps266.xml" ContentType="application/vnd.openxmlformats-officedocument.customXmlProperties+xml"/>
  <Override PartName="/customXml/itemProps267.xml" ContentType="application/vnd.openxmlformats-officedocument.customXmlProperties+xml"/>
  <Override PartName="/customXml/itemProps268.xml" ContentType="application/vnd.openxmlformats-officedocument.customXmlProperties+xml"/>
  <Override PartName="/customXml/itemProps269.xml" ContentType="application/vnd.openxmlformats-officedocument.customXmlProperties+xml"/>
  <Override PartName="/customXml/itemProps270.xml" ContentType="application/vnd.openxmlformats-officedocument.customXmlProperties+xml"/>
  <Override PartName="/customXml/itemProps271.xml" ContentType="application/vnd.openxmlformats-officedocument.customXmlProperties+xml"/>
  <Override PartName="/customXml/itemProps272.xml" ContentType="application/vnd.openxmlformats-officedocument.customXmlProperties+xml"/>
  <Override PartName="/customXml/itemProps273.xml" ContentType="application/vnd.openxmlformats-officedocument.customXmlProperties+xml"/>
  <Override PartName="/customXml/itemProps274.xml" ContentType="application/vnd.openxmlformats-officedocument.customXmlProperties+xml"/>
  <Override PartName="/customXml/itemProps275.xml" ContentType="application/vnd.openxmlformats-officedocument.customXmlProperties+xml"/>
  <Override PartName="/customXml/itemProps276.xml" ContentType="application/vnd.openxmlformats-officedocument.customXmlProperties+xml"/>
  <Override PartName="/customXml/itemProps277.xml" ContentType="application/vnd.openxmlformats-officedocument.customXmlProperties+xml"/>
  <Override PartName="/customXml/itemProps278.xml" ContentType="application/vnd.openxmlformats-officedocument.customXmlProperties+xml"/>
  <Override PartName="/customXml/itemProps279.xml" ContentType="application/vnd.openxmlformats-officedocument.customXmlProperties+xml"/>
  <Override PartName="/customXml/itemProps280.xml" ContentType="application/vnd.openxmlformats-officedocument.customXmlProperties+xml"/>
  <Override PartName="/customXml/itemProps281.xml" ContentType="application/vnd.openxmlformats-officedocument.customXmlProperties+xml"/>
  <Override PartName="/customXml/itemProps282.xml" ContentType="application/vnd.openxmlformats-officedocument.customXmlProperties+xml"/>
  <Override PartName="/customXml/itemProps283.xml" ContentType="application/vnd.openxmlformats-officedocument.customXmlProperties+xml"/>
  <Override PartName="/customXml/itemProps284.xml" ContentType="application/vnd.openxmlformats-officedocument.customXmlProperties+xml"/>
  <Override PartName="/customXml/itemProps285.xml" ContentType="application/vnd.openxmlformats-officedocument.customXmlProperties+xml"/>
  <Override PartName="/customXml/itemProps286.xml" ContentType="application/vnd.openxmlformats-officedocument.customXmlProperties+xml"/>
  <Override PartName="/customXml/itemProps287.xml" ContentType="application/vnd.openxmlformats-officedocument.customXmlProperties+xml"/>
  <Override PartName="/customXml/itemProps288.xml" ContentType="application/vnd.openxmlformats-officedocument.customXmlProperties+xml"/>
  <Override PartName="/customXml/itemProps289.xml" ContentType="application/vnd.openxmlformats-officedocument.customXmlProperties+xml"/>
  <Override PartName="/customXml/itemProps290.xml" ContentType="application/vnd.openxmlformats-officedocument.customXmlProperties+xml"/>
  <Override PartName="/customXml/itemProps291.xml" ContentType="application/vnd.openxmlformats-officedocument.customXmlProperties+xml"/>
  <Override PartName="/customXml/itemProps292.xml" ContentType="application/vnd.openxmlformats-officedocument.customXmlProperties+xml"/>
  <Override PartName="/customXml/itemProps293.xml" ContentType="application/vnd.openxmlformats-officedocument.customXmlProperties+xml"/>
  <Override PartName="/customXml/itemProps294.xml" ContentType="application/vnd.openxmlformats-officedocument.customXmlProperties+xml"/>
  <Override PartName="/customXml/itemProps295.xml" ContentType="application/vnd.openxmlformats-officedocument.customXmlProperties+xml"/>
  <Override PartName="/customXml/itemProps296.xml" ContentType="application/vnd.openxmlformats-officedocument.customXmlProperties+xml"/>
  <Override PartName="/customXml/itemProps297.xml" ContentType="application/vnd.openxmlformats-officedocument.customXmlProperties+xml"/>
  <Override PartName="/customXml/itemProps298.xml" ContentType="application/vnd.openxmlformats-officedocument.customXmlProperties+xml"/>
  <Override PartName="/customXml/itemProps299.xml" ContentType="application/vnd.openxmlformats-officedocument.customXmlProperties+xml"/>
  <Override PartName="/customXml/itemProps300.xml" ContentType="application/vnd.openxmlformats-officedocument.customXmlProperties+xml"/>
  <Override PartName="/customXml/itemProps301.xml" ContentType="application/vnd.openxmlformats-officedocument.customXmlProperties+xml"/>
  <Override PartName="/customXml/itemProps302.xml" ContentType="application/vnd.openxmlformats-officedocument.customXmlProperties+xml"/>
  <Override PartName="/customXml/itemProps303.xml" ContentType="application/vnd.openxmlformats-officedocument.customXmlProperties+xml"/>
  <Override PartName="/customXml/itemProps304.xml" ContentType="application/vnd.openxmlformats-officedocument.customXmlProperties+xml"/>
  <Override PartName="/customXml/itemProps305.xml" ContentType="application/vnd.openxmlformats-officedocument.customXmlProperties+xml"/>
  <Override PartName="/customXml/itemProps306.xml" ContentType="application/vnd.openxmlformats-officedocument.customXmlProperties+xml"/>
  <Override PartName="/customXml/itemProps307.xml" ContentType="application/vnd.openxmlformats-officedocument.customXmlProperties+xml"/>
  <Override PartName="/customXml/itemProps308.xml" ContentType="application/vnd.openxmlformats-officedocument.customXmlProperties+xml"/>
  <Override PartName="/customXml/itemProps309.xml" ContentType="application/vnd.openxmlformats-officedocument.customXmlProperties+xml"/>
  <Override PartName="/customXml/itemProps310.xml" ContentType="application/vnd.openxmlformats-officedocument.customXmlProperties+xml"/>
  <Override PartName="/customXml/itemProps311.xml" ContentType="application/vnd.openxmlformats-officedocument.customXmlProperties+xml"/>
  <Override PartName="/customXml/itemProps312.xml" ContentType="application/vnd.openxmlformats-officedocument.customXmlProperties+xml"/>
  <Override PartName="/customXml/itemProps313.xml" ContentType="application/vnd.openxmlformats-officedocument.customXmlProperties+xml"/>
  <Override PartName="/customXml/itemProps314.xml" ContentType="application/vnd.openxmlformats-officedocument.customXmlProperties+xml"/>
  <Override PartName="/customXml/itemProps315.xml" ContentType="application/vnd.openxmlformats-officedocument.customXmlProperties+xml"/>
  <Override PartName="/customXml/itemProps316.xml" ContentType="application/vnd.openxmlformats-officedocument.customXmlProperties+xml"/>
  <Override PartName="/customXml/itemProps317.xml" ContentType="application/vnd.openxmlformats-officedocument.customXmlProperties+xml"/>
  <Override PartName="/customXml/itemProps318.xml" ContentType="application/vnd.openxmlformats-officedocument.customXmlProperties+xml"/>
  <Override PartName="/customXml/itemProps319.xml" ContentType="application/vnd.openxmlformats-officedocument.customXmlProperties+xml"/>
  <Override PartName="/customXml/itemProps320.xml" ContentType="application/vnd.openxmlformats-officedocument.customXmlProperties+xml"/>
  <Override PartName="/customXml/itemProps321.xml" ContentType="application/vnd.openxmlformats-officedocument.customXmlProperties+xml"/>
  <Override PartName="/customXml/itemProps322.xml" ContentType="application/vnd.openxmlformats-officedocument.customXmlProperties+xml"/>
  <Override PartName="/customXml/itemProps323.xml" ContentType="application/vnd.openxmlformats-officedocument.customXmlProperties+xml"/>
  <Override PartName="/customXml/itemProps324.xml" ContentType="application/vnd.openxmlformats-officedocument.customXmlProperties+xml"/>
  <Override PartName="/customXml/itemProps325.xml" ContentType="application/vnd.openxmlformats-officedocument.customXmlProperties+xml"/>
  <Override PartName="/customXml/itemProps326.xml" ContentType="application/vnd.openxmlformats-officedocument.customXmlProperties+xml"/>
  <Override PartName="/customXml/itemProps327.xml" ContentType="application/vnd.openxmlformats-officedocument.customXmlProperties+xml"/>
  <Override PartName="/customXml/itemProps328.xml" ContentType="application/vnd.openxmlformats-officedocument.customXmlProperties+xml"/>
  <Override PartName="/customXml/itemProps329.xml" ContentType="application/vnd.openxmlformats-officedocument.customXmlProperties+xml"/>
  <Override PartName="/customXml/itemProps330.xml" ContentType="application/vnd.openxmlformats-officedocument.customXmlProperties+xml"/>
  <Override PartName="/customXml/itemProps331.xml" ContentType="application/vnd.openxmlformats-officedocument.customXmlProperties+xml"/>
  <Override PartName="/customXml/itemProps332.xml" ContentType="application/vnd.openxmlformats-officedocument.customXmlProperties+xml"/>
  <Override PartName="/customXml/itemProps333.xml" ContentType="application/vnd.openxmlformats-officedocument.customXmlProperties+xml"/>
  <Override PartName="/customXml/itemProps334.xml" ContentType="application/vnd.openxmlformats-officedocument.customXmlProperties+xml"/>
  <Override PartName="/customXml/itemProps335.xml" ContentType="application/vnd.openxmlformats-officedocument.customXmlProperties+xml"/>
  <Override PartName="/customXml/itemProps336.xml" ContentType="application/vnd.openxmlformats-officedocument.customXmlProperties+xml"/>
  <Override PartName="/customXml/itemProps337.xml" ContentType="application/vnd.openxmlformats-officedocument.customXmlProperties+xml"/>
  <Override PartName="/customXml/itemProps338.xml" ContentType="application/vnd.openxmlformats-officedocument.customXmlProperties+xml"/>
  <Override PartName="/customXml/itemProps339.xml" ContentType="application/vnd.openxmlformats-officedocument.customXmlProperties+xml"/>
  <Override PartName="/customXml/itemProps340.xml" ContentType="application/vnd.openxmlformats-officedocument.customXmlProperties+xml"/>
  <Override PartName="/customXml/itemProps341.xml" ContentType="application/vnd.openxmlformats-officedocument.customXmlProperties+xml"/>
  <Override PartName="/customXml/itemProps342.xml" ContentType="application/vnd.openxmlformats-officedocument.customXmlProperties+xml"/>
  <Override PartName="/customXml/itemProps343.xml" ContentType="application/vnd.openxmlformats-officedocument.customXmlProperties+xml"/>
  <Override PartName="/customXml/itemProps344.xml" ContentType="application/vnd.openxmlformats-officedocument.customXmlProperties+xml"/>
  <Override PartName="/customXml/itemProps345.xml" ContentType="application/vnd.openxmlformats-officedocument.customXmlProperties+xml"/>
  <Override PartName="/customXml/itemProps346.xml" ContentType="application/vnd.openxmlformats-officedocument.customXmlProperties+xml"/>
  <Override PartName="/customXml/itemProps347.xml" ContentType="application/vnd.openxmlformats-officedocument.customXmlProperties+xml"/>
  <Override PartName="/customXml/itemProps348.xml" ContentType="application/vnd.openxmlformats-officedocument.customXmlProperties+xml"/>
  <Override PartName="/customXml/itemProps349.xml" ContentType="application/vnd.openxmlformats-officedocument.customXmlProperties+xml"/>
  <Override PartName="/customXml/itemProps350.xml" ContentType="application/vnd.openxmlformats-officedocument.customXmlProperties+xml"/>
  <Override PartName="/customXml/itemProps351.xml" ContentType="application/vnd.openxmlformats-officedocument.customXmlProperties+xml"/>
  <Override PartName="/customXml/itemProps352.xml" ContentType="application/vnd.openxmlformats-officedocument.customXmlProperties+xml"/>
  <Override PartName="/customXml/itemProps353.xml" ContentType="application/vnd.openxmlformats-officedocument.customXmlProperties+xml"/>
  <Override PartName="/customXml/itemProps354.xml" ContentType="application/vnd.openxmlformats-officedocument.customXmlProperties+xml"/>
  <Override PartName="/customXml/itemProps355.xml" ContentType="application/vnd.openxmlformats-officedocument.customXmlProperties+xml"/>
  <Override PartName="/customXml/itemProps356.xml" ContentType="application/vnd.openxmlformats-officedocument.customXmlProperties+xml"/>
  <Override PartName="/customXml/itemProps357.xml" ContentType="application/vnd.openxmlformats-officedocument.customXmlProperties+xml"/>
  <Override PartName="/customXml/itemProps358.xml" ContentType="application/vnd.openxmlformats-officedocument.customXmlProperties+xml"/>
  <Override PartName="/customXml/itemProps359.xml" ContentType="application/vnd.openxmlformats-officedocument.customXmlProperties+xml"/>
  <Override PartName="/customXml/itemProps360.xml" ContentType="application/vnd.openxmlformats-officedocument.customXmlProperties+xml"/>
  <Override PartName="/customXml/itemProps361.xml" ContentType="application/vnd.openxmlformats-officedocument.customXmlProperties+xml"/>
  <Override PartName="/customXml/itemProps362.xml" ContentType="application/vnd.openxmlformats-officedocument.customXmlProperties+xml"/>
  <Override PartName="/customXml/itemProps363.xml" ContentType="application/vnd.openxmlformats-officedocument.customXmlProperties+xml"/>
  <Override PartName="/customXml/itemProps364.xml" ContentType="application/vnd.openxmlformats-officedocument.customXmlProperties+xml"/>
  <Override PartName="/customXml/itemProps365.xml" ContentType="application/vnd.openxmlformats-officedocument.customXmlProperties+xml"/>
  <Override PartName="/customXml/itemProps366.xml" ContentType="application/vnd.openxmlformats-officedocument.customXmlProperties+xml"/>
  <Override PartName="/customXml/itemProps367.xml" ContentType="application/vnd.openxmlformats-officedocument.customXmlProperties+xml"/>
  <Override PartName="/customXml/itemProps368.xml" ContentType="application/vnd.openxmlformats-officedocument.customXmlProperties+xml"/>
  <Override PartName="/customXml/itemProps369.xml" ContentType="application/vnd.openxmlformats-officedocument.customXmlProperties+xml"/>
  <Override PartName="/customXml/itemProps370.xml" ContentType="application/vnd.openxmlformats-officedocument.customXmlProperties+xml"/>
  <Override PartName="/customXml/itemProps371.xml" ContentType="application/vnd.openxmlformats-officedocument.customXmlProperties+xml"/>
  <Override PartName="/customXml/itemProps372.xml" ContentType="application/vnd.openxmlformats-officedocument.customXmlProperties+xml"/>
  <Override PartName="/customXml/itemProps373.xml" ContentType="application/vnd.openxmlformats-officedocument.customXmlProperties+xml"/>
  <Override PartName="/customXml/itemProps374.xml" ContentType="application/vnd.openxmlformats-officedocument.customXmlProperties+xml"/>
  <Override PartName="/customXml/itemProps375.xml" ContentType="application/vnd.openxmlformats-officedocument.customXmlProperties+xml"/>
  <Override PartName="/customXml/itemProps376.xml" ContentType="application/vnd.openxmlformats-officedocument.customXmlProperties+xml"/>
  <Override PartName="/customXml/itemProps377.xml" ContentType="application/vnd.openxmlformats-officedocument.customXmlProperties+xml"/>
  <Override PartName="/customXml/itemProps378.xml" ContentType="application/vnd.openxmlformats-officedocument.customXmlProperties+xml"/>
  <Override PartName="/customXml/itemProps379.xml" ContentType="application/vnd.openxmlformats-officedocument.customXmlProperties+xml"/>
  <Override PartName="/customXml/itemProps380.xml" ContentType="application/vnd.openxmlformats-officedocument.customXmlProperties+xml"/>
  <Override PartName="/customXml/itemProps381.xml" ContentType="application/vnd.openxmlformats-officedocument.customXmlProperties+xml"/>
  <Override PartName="/customXml/itemProps382.xml" ContentType="application/vnd.openxmlformats-officedocument.customXmlProperties+xml"/>
  <Override PartName="/customXml/itemProps383.xml" ContentType="application/vnd.openxmlformats-officedocument.customXmlProperties+xml"/>
  <Override PartName="/customXml/itemProps384.xml" ContentType="application/vnd.openxmlformats-officedocument.customXmlProperties+xml"/>
  <Override PartName="/customXml/itemProps385.xml" ContentType="application/vnd.openxmlformats-officedocument.customXmlProperties+xml"/>
  <Override PartName="/customXml/itemProps386.xml" ContentType="application/vnd.openxmlformats-officedocument.customXmlProperties+xml"/>
  <Override PartName="/customXml/itemProps387.xml" ContentType="application/vnd.openxmlformats-officedocument.customXmlProperties+xml"/>
  <Override PartName="/customXml/itemProps388.xml" ContentType="application/vnd.openxmlformats-officedocument.customXmlProperties+xml"/>
  <Override PartName="/customXml/itemProps389.xml" ContentType="application/vnd.openxmlformats-officedocument.customXmlProperties+xml"/>
  <Override PartName="/customXml/itemProps390.xml" ContentType="application/vnd.openxmlformats-officedocument.customXmlProperties+xml"/>
  <Override PartName="/customXml/itemProps391.xml" ContentType="application/vnd.openxmlformats-officedocument.customXmlProperties+xml"/>
  <Override PartName="/customXml/itemProps392.xml" ContentType="application/vnd.openxmlformats-officedocument.customXmlProperties+xml"/>
  <Override PartName="/customXml/itemProps393.xml" ContentType="application/vnd.openxmlformats-officedocument.customXmlProperties+xml"/>
  <Override PartName="/customXml/itemProps394.xml" ContentType="application/vnd.openxmlformats-officedocument.customXmlProperties+xml"/>
  <Override PartName="/customXml/itemProps395.xml" ContentType="application/vnd.openxmlformats-officedocument.customXmlProperties+xml"/>
  <Override PartName="/customXml/itemProps396.xml" ContentType="application/vnd.openxmlformats-officedocument.customXmlProperties+xml"/>
  <Override PartName="/customXml/itemProps397.xml" ContentType="application/vnd.openxmlformats-officedocument.customXmlProperties+xml"/>
  <Override PartName="/customXml/itemProps398.xml" ContentType="application/vnd.openxmlformats-officedocument.customXmlProperties+xml"/>
  <Override PartName="/customXml/itemProps399.xml" ContentType="application/vnd.openxmlformats-officedocument.customXmlProperties+xml"/>
  <Override PartName="/customXml/itemProps400.xml" ContentType="application/vnd.openxmlformats-officedocument.customXmlProperties+xml"/>
  <Override PartName="/customXml/itemProps401.xml" ContentType="application/vnd.openxmlformats-officedocument.customXmlProperties+xml"/>
  <Override PartName="/customXml/itemProps402.xml" ContentType="application/vnd.openxmlformats-officedocument.customXmlProperties+xml"/>
  <Override PartName="/customXml/itemProps403.xml" ContentType="application/vnd.openxmlformats-officedocument.customXmlProperties+xml"/>
  <Override PartName="/customXml/itemProps404.xml" ContentType="application/vnd.openxmlformats-officedocument.customXmlProperties+xml"/>
  <Override PartName="/customXml/itemProps405.xml" ContentType="application/vnd.openxmlformats-officedocument.customXmlProperties+xml"/>
  <Override PartName="/customXml/itemProps406.xml" ContentType="application/vnd.openxmlformats-officedocument.customXmlProperties+xml"/>
  <Override PartName="/customXml/itemProps407.xml" ContentType="application/vnd.openxmlformats-officedocument.customXmlProperties+xml"/>
  <Override PartName="/customXml/itemProps408.xml" ContentType="application/vnd.openxmlformats-officedocument.customXmlProperties+xml"/>
  <Override PartName="/customXml/itemProps409.xml" ContentType="application/vnd.openxmlformats-officedocument.customXmlProperties+xml"/>
  <Override PartName="/customXml/itemProps410.xml" ContentType="application/vnd.openxmlformats-officedocument.customXmlProperties+xml"/>
  <Override PartName="/customXml/itemProps411.xml" ContentType="application/vnd.openxmlformats-officedocument.customXmlProperties+xml"/>
  <Override PartName="/customXml/itemProps412.xml" ContentType="application/vnd.openxmlformats-officedocument.customXmlProperties+xml"/>
  <Override PartName="/customXml/itemProps413.xml" ContentType="application/vnd.openxmlformats-officedocument.customXmlProperties+xml"/>
  <Override PartName="/customXml/itemProps414.xml" ContentType="application/vnd.openxmlformats-officedocument.customXmlProperties+xml"/>
  <Override PartName="/customXml/itemProps415.xml" ContentType="application/vnd.openxmlformats-officedocument.customXmlProperties+xml"/>
  <Override PartName="/customXml/itemProps416.xml" ContentType="application/vnd.openxmlformats-officedocument.customXmlProperties+xml"/>
  <Override PartName="/customXml/itemProps417.xml" ContentType="application/vnd.openxmlformats-officedocument.customXmlProperties+xml"/>
  <Override PartName="/customXml/itemProps418.xml" ContentType="application/vnd.openxmlformats-officedocument.customXmlProperties+xml"/>
  <Override PartName="/customXml/itemProps419.xml" ContentType="application/vnd.openxmlformats-officedocument.customXmlProperties+xml"/>
  <Override PartName="/customXml/itemProps420.xml" ContentType="application/vnd.openxmlformats-officedocument.customXmlProperties+xml"/>
  <Override PartName="/customXml/itemProps421.xml" ContentType="application/vnd.openxmlformats-officedocument.customXmlProperties+xml"/>
  <Override PartName="/customXml/itemProps422.xml" ContentType="application/vnd.openxmlformats-officedocument.customXmlProperties+xml"/>
  <Override PartName="/customXml/itemProps423.xml" ContentType="application/vnd.openxmlformats-officedocument.customXmlProperties+xml"/>
  <Override PartName="/customXml/itemProps424.xml" ContentType="application/vnd.openxmlformats-officedocument.customXmlProperties+xml"/>
  <Override PartName="/customXml/itemProps425.xml" ContentType="application/vnd.openxmlformats-officedocument.customXmlProperties+xml"/>
  <Override PartName="/customXml/itemProps426.xml" ContentType="application/vnd.openxmlformats-officedocument.customXmlProperties+xml"/>
  <Override PartName="/customXml/itemProps427.xml" ContentType="application/vnd.openxmlformats-officedocument.customXmlProperties+xml"/>
  <Override PartName="/customXml/itemProps428.xml" ContentType="application/vnd.openxmlformats-officedocument.customXmlProperties+xml"/>
  <Override PartName="/customXml/itemProps429.xml" ContentType="application/vnd.openxmlformats-officedocument.customXmlProperties+xml"/>
  <Override PartName="/customXml/itemProps430.xml" ContentType="application/vnd.openxmlformats-officedocument.customXmlProperties+xml"/>
  <Override PartName="/customXml/itemProps431.xml" ContentType="application/vnd.openxmlformats-officedocument.customXmlProperties+xml"/>
  <Override PartName="/customXml/itemProps432.xml" ContentType="application/vnd.openxmlformats-officedocument.customXmlProperties+xml"/>
  <Override PartName="/customXml/itemProps433.xml" ContentType="application/vnd.openxmlformats-officedocument.customXmlProperties+xml"/>
  <Override PartName="/customXml/itemProps434.xml" ContentType="application/vnd.openxmlformats-officedocument.customXmlProperties+xml"/>
  <Override PartName="/customXml/itemProps435.xml" ContentType="application/vnd.openxmlformats-officedocument.customXmlProperties+xml"/>
  <Override PartName="/customXml/itemProps436.xml" ContentType="application/vnd.openxmlformats-officedocument.customXmlProperties+xml"/>
  <Override PartName="/customXml/itemProps437.xml" ContentType="application/vnd.openxmlformats-officedocument.customXmlProperties+xml"/>
  <Override PartName="/customXml/itemProps438.xml" ContentType="application/vnd.openxmlformats-officedocument.customXmlProperties+xml"/>
  <Override PartName="/customXml/itemProps439.xml" ContentType="application/vnd.openxmlformats-officedocument.customXmlProperties+xml"/>
  <Override PartName="/customXml/itemProps440.xml" ContentType="application/vnd.openxmlformats-officedocument.customXmlProperties+xml"/>
  <Override PartName="/customXml/itemProps441.xml" ContentType="application/vnd.openxmlformats-officedocument.customXmlProperties+xml"/>
  <Override PartName="/customXml/itemProps442.xml" ContentType="application/vnd.openxmlformats-officedocument.customXmlProperties+xml"/>
  <Override PartName="/customXml/itemProps443.xml" ContentType="application/vnd.openxmlformats-officedocument.customXmlProperties+xml"/>
  <Override PartName="/customXml/itemProps444.xml" ContentType="application/vnd.openxmlformats-officedocument.customXmlProperties+xml"/>
  <Override PartName="/customXml/itemProps445.xml" ContentType="application/vnd.openxmlformats-officedocument.customXmlProperties+xml"/>
  <Override PartName="/customXml/itemProps446.xml" ContentType="application/vnd.openxmlformats-officedocument.customXmlProperties+xml"/>
  <Override PartName="/customXml/itemProps447.xml" ContentType="application/vnd.openxmlformats-officedocument.customXmlProperties+xml"/>
  <Override PartName="/customXml/itemProps448.xml" ContentType="application/vnd.openxmlformats-officedocument.customXmlProperties+xml"/>
  <Override PartName="/customXml/itemProps449.xml" ContentType="application/vnd.openxmlformats-officedocument.customXmlProperties+xml"/>
  <Override PartName="/customXml/itemProps450.xml" ContentType="application/vnd.openxmlformats-officedocument.customXmlProperties+xml"/>
  <Override PartName="/customXml/itemProps451.xml" ContentType="application/vnd.openxmlformats-officedocument.customXmlProperties+xml"/>
  <Override PartName="/customXml/itemProps452.xml" ContentType="application/vnd.openxmlformats-officedocument.customXmlProperties+xml"/>
  <Override PartName="/customXml/itemProps453.xml" ContentType="application/vnd.openxmlformats-officedocument.customXmlProperties+xml"/>
  <Override PartName="/customXml/itemProps454.xml" ContentType="application/vnd.openxmlformats-officedocument.customXmlProperties+xml"/>
  <Override PartName="/customXml/itemProps455.xml" ContentType="application/vnd.openxmlformats-officedocument.customXmlProperties+xml"/>
  <Override PartName="/customXml/itemProps456.xml" ContentType="application/vnd.openxmlformats-officedocument.customXmlProperties+xml"/>
  <Override PartName="/customXml/itemProps457.xml" ContentType="application/vnd.openxmlformats-officedocument.customXmlProperties+xml"/>
  <Override PartName="/customXml/itemProps458.xml" ContentType="application/vnd.openxmlformats-officedocument.customXmlProperties+xml"/>
  <Override PartName="/customXml/itemProps459.xml" ContentType="application/vnd.openxmlformats-officedocument.customXmlProperties+xml"/>
  <Override PartName="/customXml/itemProps460.xml" ContentType="application/vnd.openxmlformats-officedocument.customXmlProperties+xml"/>
  <Override PartName="/customXml/itemProps461.xml" ContentType="application/vnd.openxmlformats-officedocument.customXmlProperties+xml"/>
  <Override PartName="/customXml/itemProps462.xml" ContentType="application/vnd.openxmlformats-officedocument.customXmlProperties+xml"/>
  <Override PartName="/customXml/itemProps463.xml" ContentType="application/vnd.openxmlformats-officedocument.customXmlProperties+xml"/>
  <Override PartName="/customXml/itemProps464.xml" ContentType="application/vnd.openxmlformats-officedocument.customXmlProperties+xml"/>
  <Override PartName="/customXml/itemProps465.xml" ContentType="application/vnd.openxmlformats-officedocument.customXmlProperties+xml"/>
  <Override PartName="/customXml/itemProps466.xml" ContentType="application/vnd.openxmlformats-officedocument.customXmlProperties+xml"/>
  <Override PartName="/customXml/itemProps467.xml" ContentType="application/vnd.openxmlformats-officedocument.customXmlProperties+xml"/>
  <Override PartName="/customXml/itemProps468.xml" ContentType="application/vnd.openxmlformats-officedocument.customXmlProperties+xml"/>
  <Override PartName="/customXml/itemProps469.xml" ContentType="application/vnd.openxmlformats-officedocument.customXmlProperties+xml"/>
  <Override PartName="/customXml/itemProps470.xml" ContentType="application/vnd.openxmlformats-officedocument.customXmlProperties+xml"/>
  <Override PartName="/customXml/itemProps471.xml" ContentType="application/vnd.openxmlformats-officedocument.customXmlProperties+xml"/>
  <Override PartName="/customXml/itemProps472.xml" ContentType="application/vnd.openxmlformats-officedocument.customXmlProperties+xml"/>
  <Override PartName="/customXml/itemProps473.xml" ContentType="application/vnd.openxmlformats-officedocument.customXmlProperties+xml"/>
  <Override PartName="/customXml/itemProps474.xml" ContentType="application/vnd.openxmlformats-officedocument.customXmlProperties+xml"/>
  <Override PartName="/customXml/itemProps475.xml" ContentType="application/vnd.openxmlformats-officedocument.customXmlProperties+xml"/>
  <Override PartName="/customXml/itemProps476.xml" ContentType="application/vnd.openxmlformats-officedocument.customXmlProperties+xml"/>
  <Override PartName="/customXml/itemProps477.xml" ContentType="application/vnd.openxmlformats-officedocument.customXmlProperties+xml"/>
  <Override PartName="/customXml/itemProps478.xml" ContentType="application/vnd.openxmlformats-officedocument.customXmlProperties+xml"/>
  <Override PartName="/customXml/itemProps479.xml" ContentType="application/vnd.openxmlformats-officedocument.customXmlProperties+xml"/>
  <Override PartName="/customXml/itemProps480.xml" ContentType="application/vnd.openxmlformats-officedocument.customXmlProperties+xml"/>
  <Override PartName="/customXml/itemProps481.xml" ContentType="application/vnd.openxmlformats-officedocument.customXmlProperties+xml"/>
  <Override PartName="/customXml/itemProps482.xml" ContentType="application/vnd.openxmlformats-officedocument.customXmlProperties+xml"/>
  <Override PartName="/customXml/itemProps483.xml" ContentType="application/vnd.openxmlformats-officedocument.customXmlProperties+xml"/>
  <Override PartName="/customXml/itemProps484.xml" ContentType="application/vnd.openxmlformats-officedocument.customXmlProperties+xml"/>
  <Override PartName="/customXml/itemProps485.xml" ContentType="application/vnd.openxmlformats-officedocument.customXmlProperties+xml"/>
  <Override PartName="/customXml/itemProps486.xml" ContentType="application/vnd.openxmlformats-officedocument.customXmlProperties+xml"/>
  <Override PartName="/customXml/itemProps487.xml" ContentType="application/vnd.openxmlformats-officedocument.customXmlProperties+xml"/>
  <Override PartName="/customXml/itemProps488.xml" ContentType="application/vnd.openxmlformats-officedocument.customXmlProperties+xml"/>
  <Override PartName="/customXml/itemProps489.xml" ContentType="application/vnd.openxmlformats-officedocument.customXmlProperties+xml"/>
  <Override PartName="/customXml/itemProps490.xml" ContentType="application/vnd.openxmlformats-officedocument.customXmlProperties+xml"/>
  <Override PartName="/customXml/itemProps491.xml" ContentType="application/vnd.openxmlformats-officedocument.customXmlProperties+xml"/>
  <Override PartName="/customXml/itemProps492.xml" ContentType="application/vnd.openxmlformats-officedocument.customXmlProperties+xml"/>
  <Override PartName="/customXml/itemProps493.xml" ContentType="application/vnd.openxmlformats-officedocument.customXmlProperties+xml"/>
  <Override PartName="/customXml/itemProps494.xml" ContentType="application/vnd.openxmlformats-officedocument.customXmlProperties+xml"/>
  <Override PartName="/customXml/itemProps495.xml" ContentType="application/vnd.openxmlformats-officedocument.customXmlProperties+xml"/>
  <Override PartName="/customXml/itemProps496.xml" ContentType="application/vnd.openxmlformats-officedocument.customXmlProperties+xml"/>
  <Override PartName="/customXml/itemProps497.xml" ContentType="application/vnd.openxmlformats-officedocument.customXmlProperties+xml"/>
  <Override PartName="/customXml/itemProps498.xml" ContentType="application/vnd.openxmlformats-officedocument.customXmlProperties+xml"/>
  <Override PartName="/customXml/itemProps499.xml" ContentType="application/vnd.openxmlformats-officedocument.customXmlProperties+xml"/>
  <Override PartName="/customXml/itemProps500.xml" ContentType="application/vnd.openxmlformats-officedocument.customXmlProperties+xml"/>
  <Override PartName="/customXml/itemProps501.xml" ContentType="application/vnd.openxmlformats-officedocument.customXmlProperties+xml"/>
  <Override PartName="/customXml/itemProps502.xml" ContentType="application/vnd.openxmlformats-officedocument.customXmlProperties+xml"/>
  <Override PartName="/customXml/itemProps503.xml" ContentType="application/vnd.openxmlformats-officedocument.customXmlProperties+xml"/>
  <Override PartName="/customXml/itemProps504.xml" ContentType="application/vnd.openxmlformats-officedocument.customXmlProperties+xml"/>
  <Override PartName="/customXml/itemProps505.xml" ContentType="application/vnd.openxmlformats-officedocument.customXmlProperties+xml"/>
  <Override PartName="/customXml/itemProps506.xml" ContentType="application/vnd.openxmlformats-officedocument.customXmlProperties+xml"/>
  <Override PartName="/customXml/itemProps507.xml" ContentType="application/vnd.openxmlformats-officedocument.customXmlProperties+xml"/>
  <Override PartName="/customXml/itemProps508.xml" ContentType="application/vnd.openxmlformats-officedocument.customXmlProperties+xml"/>
  <Override PartName="/customXml/itemProps509.xml" ContentType="application/vnd.openxmlformats-officedocument.customXmlProperties+xml"/>
  <Override PartName="/customXml/itemProps510.xml" ContentType="application/vnd.openxmlformats-officedocument.customXmlProperties+xml"/>
  <Override PartName="/customXml/itemProps511.xml" ContentType="application/vnd.openxmlformats-officedocument.customXmlProperties+xml"/>
  <Override PartName="/customXml/itemProps512.xml" ContentType="application/vnd.openxmlformats-officedocument.customXmlProperties+xml"/>
  <Override PartName="/customXml/itemProps5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14"/>
  </p:sldMasterIdLst>
  <p:notesMasterIdLst>
    <p:notesMasterId r:id="rId525"/>
  </p:notesMasterIdLst>
  <p:handoutMasterIdLst>
    <p:handoutMasterId r:id="rId526"/>
  </p:handoutMasterIdLst>
  <p:sldIdLst>
    <p:sldId id="588" r:id="rId515"/>
    <p:sldId id="649" r:id="rId516"/>
    <p:sldId id="658" r:id="rId517"/>
    <p:sldId id="659" r:id="rId518"/>
    <p:sldId id="660" r:id="rId519"/>
    <p:sldId id="661" r:id="rId520"/>
    <p:sldId id="662" r:id="rId521"/>
    <p:sldId id="663" r:id="rId522"/>
    <p:sldId id="664" r:id="rId523"/>
    <p:sldId id="665" r:id="rId524"/>
  </p:sldIdLst>
  <p:sldSz cx="12192000" cy="6858000"/>
  <p:notesSz cx="7315200" cy="9601200"/>
  <p:custDataLst>
    <p:tags r:id="rId52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09" userDrawn="1">
          <p15:clr>
            <a:srgbClr val="A4A3A4"/>
          </p15:clr>
        </p15:guide>
        <p15:guide id="2" orient="horz" pos="2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banova, Aleksandra" initials="LA" lastIdx="1" clrIdx="0">
    <p:extLst>
      <p:ext uri="{19B8F6BF-5375-455C-9EA6-DF929625EA0E}">
        <p15:presenceInfo xmlns:p15="http://schemas.microsoft.com/office/powerpoint/2012/main" userId="S-1-5-21-216888472-4088727242-185559981-4130" providerId="AD"/>
      </p:ext>
    </p:extLst>
  </p:cmAuthor>
  <p:cmAuthor id="2" name="Zaponkina, Anna" initials="ZA" lastIdx="10" clrIdx="1">
    <p:extLst>
      <p:ext uri="{19B8F6BF-5375-455C-9EA6-DF929625EA0E}">
        <p15:presenceInfo xmlns:p15="http://schemas.microsoft.com/office/powerpoint/2012/main" userId="Zaponkina, An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C63F"/>
    <a:srgbClr val="43B02A"/>
    <a:srgbClr val="26890D"/>
    <a:srgbClr val="D0D0CE"/>
    <a:srgbClr val="262626"/>
    <a:srgbClr val="000001"/>
    <a:srgbClr val="F2F2F2"/>
    <a:srgbClr val="FFFFFE"/>
    <a:srgbClr val="000000"/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Light Style 1 - Accent 2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30000" cmpd="sng">
              <a:solidFill>
                <a:schemeClr val="accent2"/>
              </a:solidFill>
            </a:ln>
          </a:top>
          <a:bottom>
            <a:ln w="5000" cmpd="sng">
              <a:solidFill>
                <a:srgbClr val="BBBCBC"/>
              </a:solidFill>
            </a:ln>
          </a:bottom>
          <a:insideH>
            <a:ln w="6350" cmpd="sng">
              <a:solidFill>
                <a:srgbClr val="BBBCBC"/>
              </a:solidFill>
            </a:ln>
          </a:insideH>
          <a:insideV>
            <a:ln w="0" cmpd="sng"/>
          </a:insideV>
        </a:tcBdr>
        <a:fill>
          <a:solidFill>
            <a:schemeClr val="lt1">
              <a:tint val="0"/>
            </a:schemeClr>
          </a:solidFill>
        </a:fill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FFFFF"/>
          </a:solidFill>
        </a:fill>
      </a:tcStyle>
    </a:band1V>
    <a:band2V>
      <a:tcStyle>
        <a:tcBdr/>
      </a:tcStyle>
    </a:band2V>
    <a:lastCol>
      <a:tcTxStyle b="on">
        <a:fontRef idx="minor">
          <a:srgbClr val="000000"/>
        </a:fontRef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b="on">
        <a:fontRef idx="major">
          <a:schemeClr val="accent2"/>
        </a:fontRef>
        <a:schemeClr val="accent2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>
          <a:srgbClr val="000000"/>
        </a:fontRef>
        <a:srgbClr val="000000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ajor">
          <a:schemeClr val="accent2"/>
        </a:fontRef>
        <a:schemeClr val="accent2"/>
      </a:tcTxStyle>
      <a:tcStyle>
        <a:tcBdr/>
        <a:fill>
          <a:solidFill>
            <a:schemeClr val="l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90314" autoAdjust="0"/>
  </p:normalViewPr>
  <p:slideViewPr>
    <p:cSldViewPr snapToGrid="0" showGuides="1">
      <p:cViewPr varScale="1">
        <p:scale>
          <a:sx n="112" d="100"/>
          <a:sy n="112" d="100"/>
        </p:scale>
        <p:origin x="438" y="108"/>
      </p:cViewPr>
      <p:guideLst>
        <p:guide pos="3409"/>
        <p:guide orient="horz" pos="265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23790"/>
    </p:cViewPr>
  </p:sorterViewPr>
  <p:notesViewPr>
    <p:cSldViewPr snapToGrid="0" showGuides="1">
      <p:cViewPr varScale="1">
        <p:scale>
          <a:sx n="51" d="100"/>
          <a:sy n="51" d="100"/>
        </p:scale>
        <p:origin x="2814" y="7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1" Type="http://schemas.openxmlformats.org/officeDocument/2006/relationships/customXml" Target="../customXml/item21.xml"/><Relationship Id="rId324" Type="http://schemas.openxmlformats.org/officeDocument/2006/relationships/customXml" Target="../customXml/item324.xml"/><Relationship Id="rId531" Type="http://schemas.openxmlformats.org/officeDocument/2006/relationships/theme" Target="theme/theme1.xml"/><Relationship Id="rId170" Type="http://schemas.openxmlformats.org/officeDocument/2006/relationships/customXml" Target="../customXml/item170.xml"/><Relationship Id="rId268" Type="http://schemas.openxmlformats.org/officeDocument/2006/relationships/customXml" Target="../customXml/item268.xml"/><Relationship Id="rId475" Type="http://schemas.openxmlformats.org/officeDocument/2006/relationships/customXml" Target="../customXml/item475.xml"/><Relationship Id="rId32" Type="http://schemas.openxmlformats.org/officeDocument/2006/relationships/customXml" Target="../customXml/item32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5" Type="http://schemas.openxmlformats.org/officeDocument/2006/relationships/customXml" Target="../customXml/item5.xml"/><Relationship Id="rId181" Type="http://schemas.openxmlformats.org/officeDocument/2006/relationships/customXml" Target="../customXml/item181.xml"/><Relationship Id="rId237" Type="http://schemas.openxmlformats.org/officeDocument/2006/relationships/customXml" Target="../customXml/item237.xml"/><Relationship Id="rId402" Type="http://schemas.openxmlformats.org/officeDocument/2006/relationships/customXml" Target="../customXml/item402.xml"/><Relationship Id="rId279" Type="http://schemas.openxmlformats.org/officeDocument/2006/relationships/customXml" Target="../customXml/item279.xml"/><Relationship Id="rId444" Type="http://schemas.openxmlformats.org/officeDocument/2006/relationships/customXml" Target="../customXml/item444.xml"/><Relationship Id="rId486" Type="http://schemas.openxmlformats.org/officeDocument/2006/relationships/customXml" Target="../customXml/item486.xml"/><Relationship Id="rId43" Type="http://schemas.openxmlformats.org/officeDocument/2006/relationships/customXml" Target="../customXml/item43.xml"/><Relationship Id="rId139" Type="http://schemas.openxmlformats.org/officeDocument/2006/relationships/customXml" Target="../customXml/item13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46" Type="http://schemas.openxmlformats.org/officeDocument/2006/relationships/customXml" Target="../customXml/item346.xml"/><Relationship Id="rId388" Type="http://schemas.openxmlformats.org/officeDocument/2006/relationships/customXml" Target="../customXml/item388.xml"/><Relationship Id="rId511" Type="http://schemas.openxmlformats.org/officeDocument/2006/relationships/customXml" Target="../customXml/item511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413" Type="http://schemas.openxmlformats.org/officeDocument/2006/relationships/customXml" Target="../customXml/item413.xml"/><Relationship Id="rId248" Type="http://schemas.openxmlformats.org/officeDocument/2006/relationships/customXml" Target="../customXml/item248.xml"/><Relationship Id="rId455" Type="http://schemas.openxmlformats.org/officeDocument/2006/relationships/customXml" Target="../customXml/item455.xml"/><Relationship Id="rId497" Type="http://schemas.openxmlformats.org/officeDocument/2006/relationships/customXml" Target="../customXml/item497.xml"/><Relationship Id="rId12" Type="http://schemas.openxmlformats.org/officeDocument/2006/relationships/customXml" Target="../customXml/item12.xml"/><Relationship Id="rId108" Type="http://schemas.openxmlformats.org/officeDocument/2006/relationships/customXml" Target="../customXml/item108.xml"/><Relationship Id="rId315" Type="http://schemas.openxmlformats.org/officeDocument/2006/relationships/customXml" Target="../customXml/item315.xml"/><Relationship Id="rId357" Type="http://schemas.openxmlformats.org/officeDocument/2006/relationships/customXml" Target="../customXml/item357.xml"/><Relationship Id="rId522" Type="http://schemas.openxmlformats.org/officeDocument/2006/relationships/slide" Target="slides/slide8.xml"/><Relationship Id="rId54" Type="http://schemas.openxmlformats.org/officeDocument/2006/relationships/customXml" Target="../customXml/item54.xml"/><Relationship Id="rId96" Type="http://schemas.openxmlformats.org/officeDocument/2006/relationships/customXml" Target="../customXml/item96.xml"/><Relationship Id="rId161" Type="http://schemas.openxmlformats.org/officeDocument/2006/relationships/customXml" Target="../customXml/item161.xml"/><Relationship Id="rId217" Type="http://schemas.openxmlformats.org/officeDocument/2006/relationships/customXml" Target="../customXml/item217.xml"/><Relationship Id="rId399" Type="http://schemas.openxmlformats.org/officeDocument/2006/relationships/customXml" Target="../customXml/item399.xml"/><Relationship Id="rId259" Type="http://schemas.openxmlformats.org/officeDocument/2006/relationships/customXml" Target="../customXml/item259.xml"/><Relationship Id="rId424" Type="http://schemas.openxmlformats.org/officeDocument/2006/relationships/customXml" Target="../customXml/item424.xml"/><Relationship Id="rId466" Type="http://schemas.openxmlformats.org/officeDocument/2006/relationships/customXml" Target="../customXml/item466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326" Type="http://schemas.openxmlformats.org/officeDocument/2006/relationships/customXml" Target="../customXml/item326.xml"/><Relationship Id="rId65" Type="http://schemas.openxmlformats.org/officeDocument/2006/relationships/customXml" Target="../customXml/item65.xml"/><Relationship Id="rId130" Type="http://schemas.openxmlformats.org/officeDocument/2006/relationships/customXml" Target="../customXml/item130.xml"/><Relationship Id="rId368" Type="http://schemas.openxmlformats.org/officeDocument/2006/relationships/customXml" Target="../customXml/item368.xml"/><Relationship Id="rId172" Type="http://schemas.openxmlformats.org/officeDocument/2006/relationships/customXml" Target="../customXml/item172.xml"/><Relationship Id="rId228" Type="http://schemas.openxmlformats.org/officeDocument/2006/relationships/customXml" Target="../customXml/item228.xml"/><Relationship Id="rId435" Type="http://schemas.openxmlformats.org/officeDocument/2006/relationships/customXml" Target="../customXml/item435.xml"/><Relationship Id="rId477" Type="http://schemas.openxmlformats.org/officeDocument/2006/relationships/customXml" Target="../customXml/item477.xml"/><Relationship Id="rId281" Type="http://schemas.openxmlformats.org/officeDocument/2006/relationships/customXml" Target="../customXml/item281.xml"/><Relationship Id="rId337" Type="http://schemas.openxmlformats.org/officeDocument/2006/relationships/customXml" Target="../customXml/item337.xml"/><Relationship Id="rId502" Type="http://schemas.openxmlformats.org/officeDocument/2006/relationships/customXml" Target="../customXml/item502.xml"/><Relationship Id="rId34" Type="http://schemas.openxmlformats.org/officeDocument/2006/relationships/customXml" Target="../customXml/item34.xml"/><Relationship Id="rId76" Type="http://schemas.openxmlformats.org/officeDocument/2006/relationships/customXml" Target="../customXml/item76.xml"/><Relationship Id="rId141" Type="http://schemas.openxmlformats.org/officeDocument/2006/relationships/customXml" Target="../customXml/item141.xml"/><Relationship Id="rId379" Type="http://schemas.openxmlformats.org/officeDocument/2006/relationships/customXml" Target="../customXml/item379.xml"/><Relationship Id="rId7" Type="http://schemas.openxmlformats.org/officeDocument/2006/relationships/customXml" Target="../customXml/item7.xml"/><Relationship Id="rId183" Type="http://schemas.openxmlformats.org/officeDocument/2006/relationships/customXml" Target="../customXml/item183.xml"/><Relationship Id="rId239" Type="http://schemas.openxmlformats.org/officeDocument/2006/relationships/customXml" Target="../customXml/item239.xml"/><Relationship Id="rId390" Type="http://schemas.openxmlformats.org/officeDocument/2006/relationships/customXml" Target="../customXml/item390.xml"/><Relationship Id="rId404" Type="http://schemas.openxmlformats.org/officeDocument/2006/relationships/customXml" Target="../customXml/item404.xml"/><Relationship Id="rId446" Type="http://schemas.openxmlformats.org/officeDocument/2006/relationships/customXml" Target="../customXml/item446.xml"/><Relationship Id="rId250" Type="http://schemas.openxmlformats.org/officeDocument/2006/relationships/customXml" Target="../customXml/item250.xml"/><Relationship Id="rId292" Type="http://schemas.openxmlformats.org/officeDocument/2006/relationships/customXml" Target="../customXml/item292.xml"/><Relationship Id="rId306" Type="http://schemas.openxmlformats.org/officeDocument/2006/relationships/customXml" Target="../customXml/item306.xml"/><Relationship Id="rId488" Type="http://schemas.openxmlformats.org/officeDocument/2006/relationships/customXml" Target="../customXml/item488.xml"/><Relationship Id="rId45" Type="http://schemas.openxmlformats.org/officeDocument/2006/relationships/customXml" Target="../customXml/item45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348" Type="http://schemas.openxmlformats.org/officeDocument/2006/relationships/customXml" Target="../customXml/item348.xml"/><Relationship Id="rId513" Type="http://schemas.openxmlformats.org/officeDocument/2006/relationships/customXml" Target="../customXml/item513.xml"/><Relationship Id="rId152" Type="http://schemas.openxmlformats.org/officeDocument/2006/relationships/customXml" Target="../customXml/item152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415" Type="http://schemas.openxmlformats.org/officeDocument/2006/relationships/customXml" Target="../customXml/item415.xml"/><Relationship Id="rId457" Type="http://schemas.openxmlformats.org/officeDocument/2006/relationships/customXml" Target="../customXml/item457.xml"/><Relationship Id="rId261" Type="http://schemas.openxmlformats.org/officeDocument/2006/relationships/customXml" Target="../customXml/item261.xml"/><Relationship Id="rId499" Type="http://schemas.openxmlformats.org/officeDocument/2006/relationships/customXml" Target="../customXml/item499.xml"/><Relationship Id="rId14" Type="http://schemas.openxmlformats.org/officeDocument/2006/relationships/customXml" Target="../customXml/item14.xml"/><Relationship Id="rId56" Type="http://schemas.openxmlformats.org/officeDocument/2006/relationships/customXml" Target="../customXml/item56.xml"/><Relationship Id="rId317" Type="http://schemas.openxmlformats.org/officeDocument/2006/relationships/customXml" Target="../customXml/item317.xml"/><Relationship Id="rId359" Type="http://schemas.openxmlformats.org/officeDocument/2006/relationships/customXml" Target="../customXml/item359.xml"/><Relationship Id="rId524" Type="http://schemas.openxmlformats.org/officeDocument/2006/relationships/slide" Target="slides/slide10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63" Type="http://schemas.openxmlformats.org/officeDocument/2006/relationships/customXml" Target="../customXml/item163.xml"/><Relationship Id="rId219" Type="http://schemas.openxmlformats.org/officeDocument/2006/relationships/customXml" Target="../customXml/item219.xml"/><Relationship Id="rId370" Type="http://schemas.openxmlformats.org/officeDocument/2006/relationships/customXml" Target="../customXml/item370.xml"/><Relationship Id="rId426" Type="http://schemas.openxmlformats.org/officeDocument/2006/relationships/customXml" Target="../customXml/item426.xml"/><Relationship Id="rId230" Type="http://schemas.openxmlformats.org/officeDocument/2006/relationships/customXml" Target="../customXml/item230.xml"/><Relationship Id="rId468" Type="http://schemas.openxmlformats.org/officeDocument/2006/relationships/customXml" Target="../customXml/item468.xml"/><Relationship Id="rId25" Type="http://schemas.openxmlformats.org/officeDocument/2006/relationships/customXml" Target="../customXml/item25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328" Type="http://schemas.openxmlformats.org/officeDocument/2006/relationships/customXml" Target="../customXml/item328.xml"/><Relationship Id="rId132" Type="http://schemas.openxmlformats.org/officeDocument/2006/relationships/customXml" Target="../customXml/item132.xml"/><Relationship Id="rId174" Type="http://schemas.openxmlformats.org/officeDocument/2006/relationships/customXml" Target="../customXml/item174.xml"/><Relationship Id="rId381" Type="http://schemas.openxmlformats.org/officeDocument/2006/relationships/customXml" Target="../customXml/item381.xml"/><Relationship Id="rId241" Type="http://schemas.openxmlformats.org/officeDocument/2006/relationships/customXml" Target="../customXml/item241.xml"/><Relationship Id="rId437" Type="http://schemas.openxmlformats.org/officeDocument/2006/relationships/customXml" Target="../customXml/item437.xml"/><Relationship Id="rId479" Type="http://schemas.openxmlformats.org/officeDocument/2006/relationships/customXml" Target="../customXml/item479.xml"/><Relationship Id="rId36" Type="http://schemas.openxmlformats.org/officeDocument/2006/relationships/customXml" Target="../customXml/item36.xml"/><Relationship Id="rId283" Type="http://schemas.openxmlformats.org/officeDocument/2006/relationships/customXml" Target="../customXml/item283.xml"/><Relationship Id="rId339" Type="http://schemas.openxmlformats.org/officeDocument/2006/relationships/customXml" Target="../customXml/item339.xml"/><Relationship Id="rId490" Type="http://schemas.openxmlformats.org/officeDocument/2006/relationships/customXml" Target="../customXml/item490.xml"/><Relationship Id="rId504" Type="http://schemas.openxmlformats.org/officeDocument/2006/relationships/customXml" Target="../customXml/item504.xml"/><Relationship Id="rId78" Type="http://schemas.openxmlformats.org/officeDocument/2006/relationships/customXml" Target="../customXml/item78.xml"/><Relationship Id="rId101" Type="http://schemas.openxmlformats.org/officeDocument/2006/relationships/customXml" Target="../customXml/item101.xml"/><Relationship Id="rId143" Type="http://schemas.openxmlformats.org/officeDocument/2006/relationships/customXml" Target="../customXml/item143.xml"/><Relationship Id="rId185" Type="http://schemas.openxmlformats.org/officeDocument/2006/relationships/customXml" Target="../customXml/item185.xml"/><Relationship Id="rId350" Type="http://schemas.openxmlformats.org/officeDocument/2006/relationships/customXml" Target="../customXml/item350.xml"/><Relationship Id="rId406" Type="http://schemas.openxmlformats.org/officeDocument/2006/relationships/customXml" Target="../customXml/item406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392" Type="http://schemas.openxmlformats.org/officeDocument/2006/relationships/customXml" Target="../customXml/item392.xml"/><Relationship Id="rId448" Type="http://schemas.openxmlformats.org/officeDocument/2006/relationships/customXml" Target="../customXml/item448.xml"/><Relationship Id="rId252" Type="http://schemas.openxmlformats.org/officeDocument/2006/relationships/customXml" Target="../customXml/item252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515" Type="http://schemas.openxmlformats.org/officeDocument/2006/relationships/slide" Target="slides/slide1.xml"/><Relationship Id="rId47" Type="http://schemas.openxmlformats.org/officeDocument/2006/relationships/customXml" Target="../customXml/item47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54" Type="http://schemas.openxmlformats.org/officeDocument/2006/relationships/customXml" Target="../customXml/item154.xml"/><Relationship Id="rId361" Type="http://schemas.openxmlformats.org/officeDocument/2006/relationships/customXml" Target="../customXml/item361.xml"/><Relationship Id="rId196" Type="http://schemas.openxmlformats.org/officeDocument/2006/relationships/customXml" Target="../customXml/item196.xml"/><Relationship Id="rId417" Type="http://schemas.openxmlformats.org/officeDocument/2006/relationships/customXml" Target="../customXml/item417.xml"/><Relationship Id="rId459" Type="http://schemas.openxmlformats.org/officeDocument/2006/relationships/customXml" Target="../customXml/item459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63" Type="http://schemas.openxmlformats.org/officeDocument/2006/relationships/customXml" Target="../customXml/item263.xml"/><Relationship Id="rId319" Type="http://schemas.openxmlformats.org/officeDocument/2006/relationships/customXml" Target="../customXml/item319.xml"/><Relationship Id="rId470" Type="http://schemas.openxmlformats.org/officeDocument/2006/relationships/customXml" Target="../customXml/item470.xml"/><Relationship Id="rId526" Type="http://schemas.openxmlformats.org/officeDocument/2006/relationships/handoutMaster" Target="handoutMasters/handoutMaster1.xml"/><Relationship Id="rId58" Type="http://schemas.openxmlformats.org/officeDocument/2006/relationships/customXml" Target="../customXml/item58.xml"/><Relationship Id="rId123" Type="http://schemas.openxmlformats.org/officeDocument/2006/relationships/customXml" Target="../customXml/item123.xml"/><Relationship Id="rId330" Type="http://schemas.openxmlformats.org/officeDocument/2006/relationships/customXml" Target="../customXml/item330.xml"/><Relationship Id="rId165" Type="http://schemas.openxmlformats.org/officeDocument/2006/relationships/customXml" Target="../customXml/item165.xml"/><Relationship Id="rId372" Type="http://schemas.openxmlformats.org/officeDocument/2006/relationships/customXml" Target="../customXml/item372.xml"/><Relationship Id="rId428" Type="http://schemas.openxmlformats.org/officeDocument/2006/relationships/customXml" Target="../customXml/item428.xml"/><Relationship Id="rId232" Type="http://schemas.openxmlformats.org/officeDocument/2006/relationships/customXml" Target="../customXml/item232.xml"/><Relationship Id="rId274" Type="http://schemas.openxmlformats.org/officeDocument/2006/relationships/customXml" Target="../customXml/item274.xml"/><Relationship Id="rId481" Type="http://schemas.openxmlformats.org/officeDocument/2006/relationships/customXml" Target="../customXml/item481.xml"/><Relationship Id="rId27" Type="http://schemas.openxmlformats.org/officeDocument/2006/relationships/customXml" Target="../customXml/item27.xml"/><Relationship Id="rId69" Type="http://schemas.openxmlformats.org/officeDocument/2006/relationships/customXml" Target="../customXml/item69.xml"/><Relationship Id="rId134" Type="http://schemas.openxmlformats.org/officeDocument/2006/relationships/customXml" Target="../customXml/item134.xml"/><Relationship Id="rId80" Type="http://schemas.openxmlformats.org/officeDocument/2006/relationships/customXml" Target="../customXml/item80.xml"/><Relationship Id="rId176" Type="http://schemas.openxmlformats.org/officeDocument/2006/relationships/customXml" Target="../customXml/item176.xml"/><Relationship Id="rId341" Type="http://schemas.openxmlformats.org/officeDocument/2006/relationships/customXml" Target="../customXml/item341.xml"/><Relationship Id="rId383" Type="http://schemas.openxmlformats.org/officeDocument/2006/relationships/customXml" Target="../customXml/item383.xml"/><Relationship Id="rId439" Type="http://schemas.openxmlformats.org/officeDocument/2006/relationships/customXml" Target="../customXml/item439.xml"/><Relationship Id="rId201" Type="http://schemas.openxmlformats.org/officeDocument/2006/relationships/customXml" Target="../customXml/item201.xml"/><Relationship Id="rId243" Type="http://schemas.openxmlformats.org/officeDocument/2006/relationships/customXml" Target="../customXml/item243.xml"/><Relationship Id="rId285" Type="http://schemas.openxmlformats.org/officeDocument/2006/relationships/customXml" Target="../customXml/item285.xml"/><Relationship Id="rId450" Type="http://schemas.openxmlformats.org/officeDocument/2006/relationships/customXml" Target="../customXml/item450.xml"/><Relationship Id="rId506" Type="http://schemas.openxmlformats.org/officeDocument/2006/relationships/customXml" Target="../customXml/item506.xml"/><Relationship Id="rId38" Type="http://schemas.openxmlformats.org/officeDocument/2006/relationships/customXml" Target="../customXml/item38.xml"/><Relationship Id="rId103" Type="http://schemas.openxmlformats.org/officeDocument/2006/relationships/customXml" Target="../customXml/item103.xml"/><Relationship Id="rId310" Type="http://schemas.openxmlformats.org/officeDocument/2006/relationships/customXml" Target="../customXml/item310.xml"/><Relationship Id="rId492" Type="http://schemas.openxmlformats.org/officeDocument/2006/relationships/customXml" Target="../customXml/item492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87" Type="http://schemas.openxmlformats.org/officeDocument/2006/relationships/customXml" Target="../customXml/item187.xml"/><Relationship Id="rId352" Type="http://schemas.openxmlformats.org/officeDocument/2006/relationships/customXml" Target="../customXml/item352.xml"/><Relationship Id="rId394" Type="http://schemas.openxmlformats.org/officeDocument/2006/relationships/customXml" Target="../customXml/item394.xml"/><Relationship Id="rId408" Type="http://schemas.openxmlformats.org/officeDocument/2006/relationships/customXml" Target="../customXml/item408.xml"/><Relationship Id="rId212" Type="http://schemas.openxmlformats.org/officeDocument/2006/relationships/customXml" Target="../customXml/item212.xml"/><Relationship Id="rId254" Type="http://schemas.openxmlformats.org/officeDocument/2006/relationships/customXml" Target="../customXml/item254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96" Type="http://schemas.openxmlformats.org/officeDocument/2006/relationships/customXml" Target="../customXml/item296.xml"/><Relationship Id="rId461" Type="http://schemas.openxmlformats.org/officeDocument/2006/relationships/customXml" Target="../customXml/item461.xml"/><Relationship Id="rId517" Type="http://schemas.openxmlformats.org/officeDocument/2006/relationships/slide" Target="slides/slide3.xml"/><Relationship Id="rId60" Type="http://schemas.openxmlformats.org/officeDocument/2006/relationships/customXml" Target="../customXml/item60.xml"/><Relationship Id="rId156" Type="http://schemas.openxmlformats.org/officeDocument/2006/relationships/customXml" Target="../customXml/item156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363" Type="http://schemas.openxmlformats.org/officeDocument/2006/relationships/customXml" Target="../customXml/item363.xml"/><Relationship Id="rId419" Type="http://schemas.openxmlformats.org/officeDocument/2006/relationships/customXml" Target="../customXml/item419.xml"/><Relationship Id="rId223" Type="http://schemas.openxmlformats.org/officeDocument/2006/relationships/customXml" Target="../customXml/item223.xml"/><Relationship Id="rId430" Type="http://schemas.openxmlformats.org/officeDocument/2006/relationships/customXml" Target="../customXml/item430.xml"/><Relationship Id="rId18" Type="http://schemas.openxmlformats.org/officeDocument/2006/relationships/customXml" Target="../customXml/item18.xml"/><Relationship Id="rId265" Type="http://schemas.openxmlformats.org/officeDocument/2006/relationships/customXml" Target="../customXml/item265.xml"/><Relationship Id="rId472" Type="http://schemas.openxmlformats.org/officeDocument/2006/relationships/customXml" Target="../customXml/item472.xml"/><Relationship Id="rId528" Type="http://schemas.openxmlformats.org/officeDocument/2006/relationships/commentAuthors" Target="commentAuthors.xml"/><Relationship Id="rId125" Type="http://schemas.openxmlformats.org/officeDocument/2006/relationships/customXml" Target="../customXml/item125.xml"/><Relationship Id="rId167" Type="http://schemas.openxmlformats.org/officeDocument/2006/relationships/customXml" Target="../customXml/item167.xml"/><Relationship Id="rId332" Type="http://schemas.openxmlformats.org/officeDocument/2006/relationships/customXml" Target="../customXml/item332.xml"/><Relationship Id="rId374" Type="http://schemas.openxmlformats.org/officeDocument/2006/relationships/customXml" Target="../customXml/item374.xml"/><Relationship Id="rId71" Type="http://schemas.openxmlformats.org/officeDocument/2006/relationships/customXml" Target="../customXml/item71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76" Type="http://schemas.openxmlformats.org/officeDocument/2006/relationships/customXml" Target="../customXml/item276.xml"/><Relationship Id="rId441" Type="http://schemas.openxmlformats.org/officeDocument/2006/relationships/customXml" Target="../customXml/item441.xml"/><Relationship Id="rId483" Type="http://schemas.openxmlformats.org/officeDocument/2006/relationships/customXml" Target="../customXml/item483.xml"/><Relationship Id="rId40" Type="http://schemas.openxmlformats.org/officeDocument/2006/relationships/customXml" Target="../customXml/item40.xml"/><Relationship Id="rId136" Type="http://schemas.openxmlformats.org/officeDocument/2006/relationships/customXml" Target="../customXml/item136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343" Type="http://schemas.openxmlformats.org/officeDocument/2006/relationships/customXml" Target="../customXml/item343.xml"/><Relationship Id="rId82" Type="http://schemas.openxmlformats.org/officeDocument/2006/relationships/customXml" Target="../customXml/item82.xml"/><Relationship Id="rId203" Type="http://schemas.openxmlformats.org/officeDocument/2006/relationships/customXml" Target="../customXml/item203.xml"/><Relationship Id="rId385" Type="http://schemas.openxmlformats.org/officeDocument/2006/relationships/customXml" Target="../customXml/item385.xml"/><Relationship Id="rId245" Type="http://schemas.openxmlformats.org/officeDocument/2006/relationships/customXml" Target="../customXml/item245.xml"/><Relationship Id="rId287" Type="http://schemas.openxmlformats.org/officeDocument/2006/relationships/customXml" Target="../customXml/item287.xml"/><Relationship Id="rId410" Type="http://schemas.openxmlformats.org/officeDocument/2006/relationships/customXml" Target="../customXml/item410.xml"/><Relationship Id="rId452" Type="http://schemas.openxmlformats.org/officeDocument/2006/relationships/customXml" Target="../customXml/item452.xml"/><Relationship Id="rId494" Type="http://schemas.openxmlformats.org/officeDocument/2006/relationships/customXml" Target="../customXml/item494.xml"/><Relationship Id="rId508" Type="http://schemas.openxmlformats.org/officeDocument/2006/relationships/customXml" Target="../customXml/item508.xml"/><Relationship Id="rId105" Type="http://schemas.openxmlformats.org/officeDocument/2006/relationships/customXml" Target="../customXml/item105.xml"/><Relationship Id="rId147" Type="http://schemas.openxmlformats.org/officeDocument/2006/relationships/customXml" Target="../customXml/item147.xml"/><Relationship Id="rId312" Type="http://schemas.openxmlformats.org/officeDocument/2006/relationships/customXml" Target="../customXml/item312.xml"/><Relationship Id="rId354" Type="http://schemas.openxmlformats.org/officeDocument/2006/relationships/customXml" Target="../customXml/item354.xml"/><Relationship Id="rId51" Type="http://schemas.openxmlformats.org/officeDocument/2006/relationships/customXml" Target="../customXml/item51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96" Type="http://schemas.openxmlformats.org/officeDocument/2006/relationships/customXml" Target="../customXml/item396.xml"/><Relationship Id="rId214" Type="http://schemas.openxmlformats.org/officeDocument/2006/relationships/customXml" Target="../customXml/item214.xml"/><Relationship Id="rId256" Type="http://schemas.openxmlformats.org/officeDocument/2006/relationships/customXml" Target="../customXml/item256.xml"/><Relationship Id="rId298" Type="http://schemas.openxmlformats.org/officeDocument/2006/relationships/customXml" Target="../customXml/item298.xml"/><Relationship Id="rId421" Type="http://schemas.openxmlformats.org/officeDocument/2006/relationships/customXml" Target="../customXml/item421.xml"/><Relationship Id="rId463" Type="http://schemas.openxmlformats.org/officeDocument/2006/relationships/customXml" Target="../customXml/item463.xml"/><Relationship Id="rId519" Type="http://schemas.openxmlformats.org/officeDocument/2006/relationships/slide" Target="slides/slide5.xml"/><Relationship Id="rId116" Type="http://schemas.openxmlformats.org/officeDocument/2006/relationships/customXml" Target="../customXml/item116.xml"/><Relationship Id="rId158" Type="http://schemas.openxmlformats.org/officeDocument/2006/relationships/customXml" Target="../customXml/item158.xml"/><Relationship Id="rId323" Type="http://schemas.openxmlformats.org/officeDocument/2006/relationships/customXml" Target="../customXml/item323.xml"/><Relationship Id="rId530" Type="http://schemas.openxmlformats.org/officeDocument/2006/relationships/viewProps" Target="viewProps.xml"/><Relationship Id="rId20" Type="http://schemas.openxmlformats.org/officeDocument/2006/relationships/customXml" Target="../customXml/item20.xml"/><Relationship Id="rId62" Type="http://schemas.openxmlformats.org/officeDocument/2006/relationships/customXml" Target="../customXml/item62.xml"/><Relationship Id="rId365" Type="http://schemas.openxmlformats.org/officeDocument/2006/relationships/customXml" Target="../customXml/item365.xml"/><Relationship Id="rId225" Type="http://schemas.openxmlformats.org/officeDocument/2006/relationships/customXml" Target="../customXml/item225.xml"/><Relationship Id="rId267" Type="http://schemas.openxmlformats.org/officeDocument/2006/relationships/customXml" Target="../customXml/item267.xml"/><Relationship Id="rId432" Type="http://schemas.openxmlformats.org/officeDocument/2006/relationships/customXml" Target="../customXml/item432.xml"/><Relationship Id="rId474" Type="http://schemas.openxmlformats.org/officeDocument/2006/relationships/customXml" Target="../customXml/item474.xml"/><Relationship Id="rId127" Type="http://schemas.openxmlformats.org/officeDocument/2006/relationships/customXml" Target="../customXml/item127.xml"/><Relationship Id="rId31" Type="http://schemas.openxmlformats.org/officeDocument/2006/relationships/customXml" Target="../customXml/item31.xml"/><Relationship Id="rId73" Type="http://schemas.openxmlformats.org/officeDocument/2006/relationships/customXml" Target="../customXml/item73.xml"/><Relationship Id="rId169" Type="http://schemas.openxmlformats.org/officeDocument/2006/relationships/customXml" Target="../customXml/item169.xml"/><Relationship Id="rId334" Type="http://schemas.openxmlformats.org/officeDocument/2006/relationships/customXml" Target="../customXml/item334.xml"/><Relationship Id="rId376" Type="http://schemas.openxmlformats.org/officeDocument/2006/relationships/customXml" Target="../customXml/item376.xml"/><Relationship Id="rId4" Type="http://schemas.openxmlformats.org/officeDocument/2006/relationships/customXml" Target="../customXml/item4.xml"/><Relationship Id="rId180" Type="http://schemas.openxmlformats.org/officeDocument/2006/relationships/customXml" Target="../customXml/item180.xml"/><Relationship Id="rId236" Type="http://schemas.openxmlformats.org/officeDocument/2006/relationships/customXml" Target="../customXml/item236.xml"/><Relationship Id="rId278" Type="http://schemas.openxmlformats.org/officeDocument/2006/relationships/customXml" Target="../customXml/item278.xml"/><Relationship Id="rId401" Type="http://schemas.openxmlformats.org/officeDocument/2006/relationships/customXml" Target="../customXml/item401.xml"/><Relationship Id="rId443" Type="http://schemas.openxmlformats.org/officeDocument/2006/relationships/customXml" Target="../customXml/item443.xml"/><Relationship Id="rId303" Type="http://schemas.openxmlformats.org/officeDocument/2006/relationships/customXml" Target="../customXml/item303.xml"/><Relationship Id="rId485" Type="http://schemas.openxmlformats.org/officeDocument/2006/relationships/customXml" Target="../customXml/item485.xml"/><Relationship Id="rId42" Type="http://schemas.openxmlformats.org/officeDocument/2006/relationships/customXml" Target="../customXml/item42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387" Type="http://schemas.openxmlformats.org/officeDocument/2006/relationships/customXml" Target="../customXml/item387.xml"/><Relationship Id="rId510" Type="http://schemas.openxmlformats.org/officeDocument/2006/relationships/customXml" Target="../customXml/item510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47" Type="http://schemas.openxmlformats.org/officeDocument/2006/relationships/customXml" Target="../customXml/item247.xml"/><Relationship Id="rId412" Type="http://schemas.openxmlformats.org/officeDocument/2006/relationships/customXml" Target="../customXml/item412.xml"/><Relationship Id="rId107" Type="http://schemas.openxmlformats.org/officeDocument/2006/relationships/customXml" Target="../customXml/item107.xml"/><Relationship Id="rId289" Type="http://schemas.openxmlformats.org/officeDocument/2006/relationships/customXml" Target="../customXml/item289.xml"/><Relationship Id="rId454" Type="http://schemas.openxmlformats.org/officeDocument/2006/relationships/customXml" Target="../customXml/item454.xml"/><Relationship Id="rId496" Type="http://schemas.openxmlformats.org/officeDocument/2006/relationships/customXml" Target="../customXml/item496.xml"/><Relationship Id="rId11" Type="http://schemas.openxmlformats.org/officeDocument/2006/relationships/customXml" Target="../customXml/item11.xml"/><Relationship Id="rId53" Type="http://schemas.openxmlformats.org/officeDocument/2006/relationships/customXml" Target="../customXml/item53.xml"/><Relationship Id="rId149" Type="http://schemas.openxmlformats.org/officeDocument/2006/relationships/customXml" Target="../customXml/item149.xml"/><Relationship Id="rId314" Type="http://schemas.openxmlformats.org/officeDocument/2006/relationships/customXml" Target="../customXml/item314.xml"/><Relationship Id="rId356" Type="http://schemas.openxmlformats.org/officeDocument/2006/relationships/customXml" Target="../customXml/item356.xml"/><Relationship Id="rId398" Type="http://schemas.openxmlformats.org/officeDocument/2006/relationships/customXml" Target="../customXml/item398.xml"/><Relationship Id="rId521" Type="http://schemas.openxmlformats.org/officeDocument/2006/relationships/slide" Target="slides/slide7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216" Type="http://schemas.openxmlformats.org/officeDocument/2006/relationships/customXml" Target="../customXml/item216.xml"/><Relationship Id="rId423" Type="http://schemas.openxmlformats.org/officeDocument/2006/relationships/customXml" Target="../customXml/item423.xml"/><Relationship Id="rId258" Type="http://schemas.openxmlformats.org/officeDocument/2006/relationships/customXml" Target="../customXml/item258.xml"/><Relationship Id="rId465" Type="http://schemas.openxmlformats.org/officeDocument/2006/relationships/customXml" Target="../customXml/item465.xml"/><Relationship Id="rId22" Type="http://schemas.openxmlformats.org/officeDocument/2006/relationships/customXml" Target="../customXml/item22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325" Type="http://schemas.openxmlformats.org/officeDocument/2006/relationships/customXml" Target="../customXml/item325.xml"/><Relationship Id="rId367" Type="http://schemas.openxmlformats.org/officeDocument/2006/relationships/customXml" Target="../customXml/item367.xml"/><Relationship Id="rId532" Type="http://schemas.openxmlformats.org/officeDocument/2006/relationships/tableStyles" Target="tableStyles.xml"/><Relationship Id="rId171" Type="http://schemas.openxmlformats.org/officeDocument/2006/relationships/customXml" Target="../customXml/item171.xml"/><Relationship Id="rId227" Type="http://schemas.openxmlformats.org/officeDocument/2006/relationships/customXml" Target="../customXml/item227.xml"/><Relationship Id="rId269" Type="http://schemas.openxmlformats.org/officeDocument/2006/relationships/customXml" Target="../customXml/item269.xml"/><Relationship Id="rId434" Type="http://schemas.openxmlformats.org/officeDocument/2006/relationships/customXml" Target="../customXml/item434.xml"/><Relationship Id="rId476" Type="http://schemas.openxmlformats.org/officeDocument/2006/relationships/customXml" Target="../customXml/item476.xml"/><Relationship Id="rId33" Type="http://schemas.openxmlformats.org/officeDocument/2006/relationships/customXml" Target="../customXml/item33.xml"/><Relationship Id="rId129" Type="http://schemas.openxmlformats.org/officeDocument/2006/relationships/customXml" Target="../customXml/item129.xml"/><Relationship Id="rId280" Type="http://schemas.openxmlformats.org/officeDocument/2006/relationships/customXml" Target="../customXml/item280.xml"/><Relationship Id="rId336" Type="http://schemas.openxmlformats.org/officeDocument/2006/relationships/customXml" Target="../customXml/item336.xml"/><Relationship Id="rId501" Type="http://schemas.openxmlformats.org/officeDocument/2006/relationships/customXml" Target="../customXml/item501.xml"/><Relationship Id="rId75" Type="http://schemas.openxmlformats.org/officeDocument/2006/relationships/customXml" Target="../customXml/item75.xml"/><Relationship Id="rId140" Type="http://schemas.openxmlformats.org/officeDocument/2006/relationships/customXml" Target="../customXml/item140.xml"/><Relationship Id="rId182" Type="http://schemas.openxmlformats.org/officeDocument/2006/relationships/customXml" Target="../customXml/item182.xml"/><Relationship Id="rId378" Type="http://schemas.openxmlformats.org/officeDocument/2006/relationships/customXml" Target="../customXml/item378.xml"/><Relationship Id="rId403" Type="http://schemas.openxmlformats.org/officeDocument/2006/relationships/customXml" Target="../customXml/item403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445" Type="http://schemas.openxmlformats.org/officeDocument/2006/relationships/customXml" Target="../customXml/item445.xml"/><Relationship Id="rId487" Type="http://schemas.openxmlformats.org/officeDocument/2006/relationships/customXml" Target="../customXml/item487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347" Type="http://schemas.openxmlformats.org/officeDocument/2006/relationships/customXml" Target="../customXml/item347.xml"/><Relationship Id="rId512" Type="http://schemas.openxmlformats.org/officeDocument/2006/relationships/customXml" Target="../customXml/item512.xml"/><Relationship Id="rId44" Type="http://schemas.openxmlformats.org/officeDocument/2006/relationships/customXml" Target="../customXml/item44.xml"/><Relationship Id="rId86" Type="http://schemas.openxmlformats.org/officeDocument/2006/relationships/customXml" Target="../customXml/item86.xml"/><Relationship Id="rId151" Type="http://schemas.openxmlformats.org/officeDocument/2006/relationships/customXml" Target="../customXml/item151.xml"/><Relationship Id="rId389" Type="http://schemas.openxmlformats.org/officeDocument/2006/relationships/customXml" Target="../customXml/item389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49" Type="http://schemas.openxmlformats.org/officeDocument/2006/relationships/customXml" Target="../customXml/item249.xml"/><Relationship Id="rId414" Type="http://schemas.openxmlformats.org/officeDocument/2006/relationships/customXml" Target="../customXml/item414.xml"/><Relationship Id="rId456" Type="http://schemas.openxmlformats.org/officeDocument/2006/relationships/customXml" Target="../customXml/item456.xml"/><Relationship Id="rId498" Type="http://schemas.openxmlformats.org/officeDocument/2006/relationships/customXml" Target="../customXml/item498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316" Type="http://schemas.openxmlformats.org/officeDocument/2006/relationships/customXml" Target="../customXml/item316.xml"/><Relationship Id="rId523" Type="http://schemas.openxmlformats.org/officeDocument/2006/relationships/slide" Target="slides/slide9.xml"/><Relationship Id="rId55" Type="http://schemas.openxmlformats.org/officeDocument/2006/relationships/customXml" Target="../customXml/item55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358" Type="http://schemas.openxmlformats.org/officeDocument/2006/relationships/customXml" Target="../customXml/item358.xml"/><Relationship Id="rId162" Type="http://schemas.openxmlformats.org/officeDocument/2006/relationships/customXml" Target="../customXml/item162.xml"/><Relationship Id="rId218" Type="http://schemas.openxmlformats.org/officeDocument/2006/relationships/customXml" Target="../customXml/item218.xml"/><Relationship Id="rId425" Type="http://schemas.openxmlformats.org/officeDocument/2006/relationships/customXml" Target="../customXml/item425.xml"/><Relationship Id="rId467" Type="http://schemas.openxmlformats.org/officeDocument/2006/relationships/customXml" Target="../customXml/item467.xml"/><Relationship Id="rId271" Type="http://schemas.openxmlformats.org/officeDocument/2006/relationships/customXml" Target="../customXml/item271.xml"/><Relationship Id="rId24" Type="http://schemas.openxmlformats.org/officeDocument/2006/relationships/customXml" Target="../customXml/item24.xml"/><Relationship Id="rId66" Type="http://schemas.openxmlformats.org/officeDocument/2006/relationships/customXml" Target="../customXml/item66.xml"/><Relationship Id="rId131" Type="http://schemas.openxmlformats.org/officeDocument/2006/relationships/customXml" Target="../customXml/item131.xml"/><Relationship Id="rId327" Type="http://schemas.openxmlformats.org/officeDocument/2006/relationships/customXml" Target="../customXml/item327.xml"/><Relationship Id="rId369" Type="http://schemas.openxmlformats.org/officeDocument/2006/relationships/customXml" Target="../customXml/item369.xml"/><Relationship Id="rId173" Type="http://schemas.openxmlformats.org/officeDocument/2006/relationships/customXml" Target="../customXml/item173.xml"/><Relationship Id="rId229" Type="http://schemas.openxmlformats.org/officeDocument/2006/relationships/customXml" Target="../customXml/item229.xml"/><Relationship Id="rId380" Type="http://schemas.openxmlformats.org/officeDocument/2006/relationships/customXml" Target="../customXml/item380.xml"/><Relationship Id="rId436" Type="http://schemas.openxmlformats.org/officeDocument/2006/relationships/customXml" Target="../customXml/item436.xml"/><Relationship Id="rId240" Type="http://schemas.openxmlformats.org/officeDocument/2006/relationships/customXml" Target="../customXml/item240.xml"/><Relationship Id="rId478" Type="http://schemas.openxmlformats.org/officeDocument/2006/relationships/customXml" Target="../customXml/item478.xml"/><Relationship Id="rId35" Type="http://schemas.openxmlformats.org/officeDocument/2006/relationships/customXml" Target="../customXml/item35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282" Type="http://schemas.openxmlformats.org/officeDocument/2006/relationships/customXml" Target="../customXml/item282.xml"/><Relationship Id="rId338" Type="http://schemas.openxmlformats.org/officeDocument/2006/relationships/customXml" Target="../customXml/item338.xml"/><Relationship Id="rId503" Type="http://schemas.openxmlformats.org/officeDocument/2006/relationships/customXml" Target="../customXml/item503.xml"/><Relationship Id="rId8" Type="http://schemas.openxmlformats.org/officeDocument/2006/relationships/customXml" Target="../customXml/item8.xml"/><Relationship Id="rId142" Type="http://schemas.openxmlformats.org/officeDocument/2006/relationships/customXml" Target="../customXml/item142.xml"/><Relationship Id="rId184" Type="http://schemas.openxmlformats.org/officeDocument/2006/relationships/customXml" Target="../customXml/item184.xml"/><Relationship Id="rId391" Type="http://schemas.openxmlformats.org/officeDocument/2006/relationships/customXml" Target="../customXml/item391.xml"/><Relationship Id="rId405" Type="http://schemas.openxmlformats.org/officeDocument/2006/relationships/customXml" Target="../customXml/item405.xml"/><Relationship Id="rId447" Type="http://schemas.openxmlformats.org/officeDocument/2006/relationships/customXml" Target="../customXml/item447.xml"/><Relationship Id="rId251" Type="http://schemas.openxmlformats.org/officeDocument/2006/relationships/customXml" Target="../customXml/item251.xml"/><Relationship Id="rId489" Type="http://schemas.openxmlformats.org/officeDocument/2006/relationships/customXml" Target="../customXml/item489.xml"/><Relationship Id="rId46" Type="http://schemas.openxmlformats.org/officeDocument/2006/relationships/customXml" Target="../customXml/item46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349" Type="http://schemas.openxmlformats.org/officeDocument/2006/relationships/customXml" Target="../customXml/item349.xml"/><Relationship Id="rId514" Type="http://schemas.openxmlformats.org/officeDocument/2006/relationships/slideMaster" Target="slideMasters/slideMaster1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53" Type="http://schemas.openxmlformats.org/officeDocument/2006/relationships/customXml" Target="../customXml/item153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360" Type="http://schemas.openxmlformats.org/officeDocument/2006/relationships/customXml" Target="../customXml/item360.xml"/><Relationship Id="rId416" Type="http://schemas.openxmlformats.org/officeDocument/2006/relationships/customXml" Target="../customXml/item416.xml"/><Relationship Id="rId220" Type="http://schemas.openxmlformats.org/officeDocument/2006/relationships/customXml" Target="../customXml/item220.xml"/><Relationship Id="rId458" Type="http://schemas.openxmlformats.org/officeDocument/2006/relationships/customXml" Target="../customXml/item458.xml"/><Relationship Id="rId15" Type="http://schemas.openxmlformats.org/officeDocument/2006/relationships/customXml" Target="../customXml/item15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318" Type="http://schemas.openxmlformats.org/officeDocument/2006/relationships/customXml" Target="../customXml/item318.xml"/><Relationship Id="rId525" Type="http://schemas.openxmlformats.org/officeDocument/2006/relationships/notesMaster" Target="notesMasters/notesMaster1.xml"/><Relationship Id="rId99" Type="http://schemas.openxmlformats.org/officeDocument/2006/relationships/customXml" Target="../customXml/item99.xml"/><Relationship Id="rId122" Type="http://schemas.openxmlformats.org/officeDocument/2006/relationships/customXml" Target="../customXml/item122.xml"/><Relationship Id="rId164" Type="http://schemas.openxmlformats.org/officeDocument/2006/relationships/customXml" Target="../customXml/item164.xml"/><Relationship Id="rId371" Type="http://schemas.openxmlformats.org/officeDocument/2006/relationships/customXml" Target="../customXml/item371.xml"/><Relationship Id="rId427" Type="http://schemas.openxmlformats.org/officeDocument/2006/relationships/customXml" Target="../customXml/item427.xml"/><Relationship Id="rId469" Type="http://schemas.openxmlformats.org/officeDocument/2006/relationships/customXml" Target="../customXml/item469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73" Type="http://schemas.openxmlformats.org/officeDocument/2006/relationships/customXml" Target="../customXml/item273.xml"/><Relationship Id="rId329" Type="http://schemas.openxmlformats.org/officeDocument/2006/relationships/customXml" Target="../customXml/item329.xml"/><Relationship Id="rId480" Type="http://schemas.openxmlformats.org/officeDocument/2006/relationships/customXml" Target="../customXml/item480.xml"/><Relationship Id="rId68" Type="http://schemas.openxmlformats.org/officeDocument/2006/relationships/customXml" Target="../customXml/item68.xml"/><Relationship Id="rId133" Type="http://schemas.openxmlformats.org/officeDocument/2006/relationships/customXml" Target="../customXml/item133.xml"/><Relationship Id="rId175" Type="http://schemas.openxmlformats.org/officeDocument/2006/relationships/customXml" Target="../customXml/item175.xml"/><Relationship Id="rId340" Type="http://schemas.openxmlformats.org/officeDocument/2006/relationships/customXml" Target="../customXml/item340.xml"/><Relationship Id="rId200" Type="http://schemas.openxmlformats.org/officeDocument/2006/relationships/customXml" Target="../customXml/item200.xml"/><Relationship Id="rId382" Type="http://schemas.openxmlformats.org/officeDocument/2006/relationships/customXml" Target="../customXml/item382.xml"/><Relationship Id="rId438" Type="http://schemas.openxmlformats.org/officeDocument/2006/relationships/customXml" Target="../customXml/item438.xml"/><Relationship Id="rId242" Type="http://schemas.openxmlformats.org/officeDocument/2006/relationships/customXml" Target="../customXml/item242.xml"/><Relationship Id="rId284" Type="http://schemas.openxmlformats.org/officeDocument/2006/relationships/customXml" Target="../customXml/item284.xml"/><Relationship Id="rId491" Type="http://schemas.openxmlformats.org/officeDocument/2006/relationships/customXml" Target="../customXml/item491.xml"/><Relationship Id="rId505" Type="http://schemas.openxmlformats.org/officeDocument/2006/relationships/customXml" Target="../customXml/item505.xml"/><Relationship Id="rId37" Type="http://schemas.openxmlformats.org/officeDocument/2006/relationships/customXml" Target="../customXml/item37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44" Type="http://schemas.openxmlformats.org/officeDocument/2006/relationships/customXml" Target="../customXml/item144.xml"/><Relationship Id="rId90" Type="http://schemas.openxmlformats.org/officeDocument/2006/relationships/customXml" Target="../customXml/item90.xml"/><Relationship Id="rId186" Type="http://schemas.openxmlformats.org/officeDocument/2006/relationships/customXml" Target="../customXml/item186.xml"/><Relationship Id="rId351" Type="http://schemas.openxmlformats.org/officeDocument/2006/relationships/customXml" Target="../customXml/item351.xml"/><Relationship Id="rId393" Type="http://schemas.openxmlformats.org/officeDocument/2006/relationships/customXml" Target="../customXml/item393.xml"/><Relationship Id="rId407" Type="http://schemas.openxmlformats.org/officeDocument/2006/relationships/customXml" Target="../customXml/item407.xml"/><Relationship Id="rId449" Type="http://schemas.openxmlformats.org/officeDocument/2006/relationships/customXml" Target="../customXml/item449.xml"/><Relationship Id="rId211" Type="http://schemas.openxmlformats.org/officeDocument/2006/relationships/customXml" Target="../customXml/item211.xml"/><Relationship Id="rId253" Type="http://schemas.openxmlformats.org/officeDocument/2006/relationships/customXml" Target="../customXml/item253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Relationship Id="rId460" Type="http://schemas.openxmlformats.org/officeDocument/2006/relationships/customXml" Target="../customXml/item460.xml"/><Relationship Id="rId516" Type="http://schemas.openxmlformats.org/officeDocument/2006/relationships/slide" Target="slides/slide2.xml"/><Relationship Id="rId48" Type="http://schemas.openxmlformats.org/officeDocument/2006/relationships/customXml" Target="../customXml/item48.xml"/><Relationship Id="rId113" Type="http://schemas.openxmlformats.org/officeDocument/2006/relationships/customXml" Target="../customXml/item113.xml"/><Relationship Id="rId320" Type="http://schemas.openxmlformats.org/officeDocument/2006/relationships/customXml" Target="../customXml/item320.xml"/><Relationship Id="rId155" Type="http://schemas.openxmlformats.org/officeDocument/2006/relationships/customXml" Target="../customXml/item155.xml"/><Relationship Id="rId197" Type="http://schemas.openxmlformats.org/officeDocument/2006/relationships/customXml" Target="../customXml/item197.xml"/><Relationship Id="rId362" Type="http://schemas.openxmlformats.org/officeDocument/2006/relationships/customXml" Target="../customXml/item362.xml"/><Relationship Id="rId418" Type="http://schemas.openxmlformats.org/officeDocument/2006/relationships/customXml" Target="../customXml/item418.xml"/><Relationship Id="rId222" Type="http://schemas.openxmlformats.org/officeDocument/2006/relationships/customXml" Target="../customXml/item222.xml"/><Relationship Id="rId264" Type="http://schemas.openxmlformats.org/officeDocument/2006/relationships/customXml" Target="../customXml/item264.xml"/><Relationship Id="rId471" Type="http://schemas.openxmlformats.org/officeDocument/2006/relationships/customXml" Target="../customXml/item471.xml"/><Relationship Id="rId17" Type="http://schemas.openxmlformats.org/officeDocument/2006/relationships/customXml" Target="../customXml/item17.xml"/><Relationship Id="rId59" Type="http://schemas.openxmlformats.org/officeDocument/2006/relationships/customXml" Target="../customXml/item59.xml"/><Relationship Id="rId124" Type="http://schemas.openxmlformats.org/officeDocument/2006/relationships/customXml" Target="../customXml/item124.xml"/><Relationship Id="rId527" Type="http://schemas.openxmlformats.org/officeDocument/2006/relationships/tags" Target="tags/tag1.xml"/><Relationship Id="rId70" Type="http://schemas.openxmlformats.org/officeDocument/2006/relationships/customXml" Target="../customXml/item70.xml"/><Relationship Id="rId166" Type="http://schemas.openxmlformats.org/officeDocument/2006/relationships/customXml" Target="../customXml/item166.xml"/><Relationship Id="rId331" Type="http://schemas.openxmlformats.org/officeDocument/2006/relationships/customXml" Target="../customXml/item331.xml"/><Relationship Id="rId373" Type="http://schemas.openxmlformats.org/officeDocument/2006/relationships/customXml" Target="../customXml/item373.xml"/><Relationship Id="rId429" Type="http://schemas.openxmlformats.org/officeDocument/2006/relationships/customXml" Target="../customXml/item429.xml"/><Relationship Id="rId1" Type="http://schemas.openxmlformats.org/officeDocument/2006/relationships/customXml" Target="../customXml/item1.xml"/><Relationship Id="rId233" Type="http://schemas.openxmlformats.org/officeDocument/2006/relationships/customXml" Target="../customXml/item233.xml"/><Relationship Id="rId440" Type="http://schemas.openxmlformats.org/officeDocument/2006/relationships/customXml" Target="../customXml/item440.xml"/><Relationship Id="rId28" Type="http://schemas.openxmlformats.org/officeDocument/2006/relationships/customXml" Target="../customXml/item28.xml"/><Relationship Id="rId275" Type="http://schemas.openxmlformats.org/officeDocument/2006/relationships/customXml" Target="../customXml/item275.xml"/><Relationship Id="rId300" Type="http://schemas.openxmlformats.org/officeDocument/2006/relationships/customXml" Target="../customXml/item300.xml"/><Relationship Id="rId482" Type="http://schemas.openxmlformats.org/officeDocument/2006/relationships/customXml" Target="../customXml/item482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77" Type="http://schemas.openxmlformats.org/officeDocument/2006/relationships/customXml" Target="../customXml/item177.xml"/><Relationship Id="rId342" Type="http://schemas.openxmlformats.org/officeDocument/2006/relationships/customXml" Target="../customXml/item342.xml"/><Relationship Id="rId384" Type="http://schemas.openxmlformats.org/officeDocument/2006/relationships/customXml" Target="../customXml/item384.xml"/><Relationship Id="rId202" Type="http://schemas.openxmlformats.org/officeDocument/2006/relationships/customXml" Target="../customXml/item202.xml"/><Relationship Id="rId244" Type="http://schemas.openxmlformats.org/officeDocument/2006/relationships/customXml" Target="../customXml/item244.xml"/><Relationship Id="rId39" Type="http://schemas.openxmlformats.org/officeDocument/2006/relationships/customXml" Target="../customXml/item39.xml"/><Relationship Id="rId286" Type="http://schemas.openxmlformats.org/officeDocument/2006/relationships/customXml" Target="../customXml/item286.xml"/><Relationship Id="rId451" Type="http://schemas.openxmlformats.org/officeDocument/2006/relationships/customXml" Target="../customXml/item451.xml"/><Relationship Id="rId493" Type="http://schemas.openxmlformats.org/officeDocument/2006/relationships/customXml" Target="../customXml/item493.xml"/><Relationship Id="rId507" Type="http://schemas.openxmlformats.org/officeDocument/2006/relationships/customXml" Target="../customXml/item507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46" Type="http://schemas.openxmlformats.org/officeDocument/2006/relationships/customXml" Target="../customXml/item146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53" Type="http://schemas.openxmlformats.org/officeDocument/2006/relationships/customXml" Target="../customXml/item353.xml"/><Relationship Id="rId395" Type="http://schemas.openxmlformats.org/officeDocument/2006/relationships/customXml" Target="../customXml/item395.xml"/><Relationship Id="rId409" Type="http://schemas.openxmlformats.org/officeDocument/2006/relationships/customXml" Target="../customXml/item409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420" Type="http://schemas.openxmlformats.org/officeDocument/2006/relationships/customXml" Target="../customXml/item420.xml"/><Relationship Id="rId255" Type="http://schemas.openxmlformats.org/officeDocument/2006/relationships/customXml" Target="../customXml/item255.xml"/><Relationship Id="rId297" Type="http://schemas.openxmlformats.org/officeDocument/2006/relationships/customXml" Target="../customXml/item297.xml"/><Relationship Id="rId462" Type="http://schemas.openxmlformats.org/officeDocument/2006/relationships/customXml" Target="../customXml/item462.xml"/><Relationship Id="rId518" Type="http://schemas.openxmlformats.org/officeDocument/2006/relationships/slide" Target="slides/slide4.xml"/><Relationship Id="rId115" Type="http://schemas.openxmlformats.org/officeDocument/2006/relationships/customXml" Target="../customXml/item115.xml"/><Relationship Id="rId157" Type="http://schemas.openxmlformats.org/officeDocument/2006/relationships/customXml" Target="../customXml/item157.xml"/><Relationship Id="rId322" Type="http://schemas.openxmlformats.org/officeDocument/2006/relationships/customXml" Target="../customXml/item322.xml"/><Relationship Id="rId364" Type="http://schemas.openxmlformats.org/officeDocument/2006/relationships/customXml" Target="../customXml/item364.xml"/><Relationship Id="rId61" Type="http://schemas.openxmlformats.org/officeDocument/2006/relationships/customXml" Target="../customXml/item61.xml"/><Relationship Id="rId199" Type="http://schemas.openxmlformats.org/officeDocument/2006/relationships/customXml" Target="../customXml/item199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66" Type="http://schemas.openxmlformats.org/officeDocument/2006/relationships/customXml" Target="../customXml/item266.xml"/><Relationship Id="rId431" Type="http://schemas.openxmlformats.org/officeDocument/2006/relationships/customXml" Target="../customXml/item431.xml"/><Relationship Id="rId473" Type="http://schemas.openxmlformats.org/officeDocument/2006/relationships/customXml" Target="../customXml/item473.xml"/><Relationship Id="rId529" Type="http://schemas.openxmlformats.org/officeDocument/2006/relationships/presProps" Target="presProps.xml"/><Relationship Id="rId30" Type="http://schemas.openxmlformats.org/officeDocument/2006/relationships/customXml" Target="../customXml/item30.xml"/><Relationship Id="rId126" Type="http://schemas.openxmlformats.org/officeDocument/2006/relationships/customXml" Target="../customXml/item126.xml"/><Relationship Id="rId168" Type="http://schemas.openxmlformats.org/officeDocument/2006/relationships/customXml" Target="../customXml/item168.xml"/><Relationship Id="rId333" Type="http://schemas.openxmlformats.org/officeDocument/2006/relationships/customXml" Target="../customXml/item333.xml"/><Relationship Id="rId72" Type="http://schemas.openxmlformats.org/officeDocument/2006/relationships/customXml" Target="../customXml/item72.xml"/><Relationship Id="rId375" Type="http://schemas.openxmlformats.org/officeDocument/2006/relationships/customXml" Target="../customXml/item375.xml"/><Relationship Id="rId3" Type="http://schemas.openxmlformats.org/officeDocument/2006/relationships/customXml" Target="../customXml/item3.xml"/><Relationship Id="rId235" Type="http://schemas.openxmlformats.org/officeDocument/2006/relationships/customXml" Target="../customXml/item235.xml"/><Relationship Id="rId277" Type="http://schemas.openxmlformats.org/officeDocument/2006/relationships/customXml" Target="../customXml/item277.xml"/><Relationship Id="rId400" Type="http://schemas.openxmlformats.org/officeDocument/2006/relationships/customXml" Target="../customXml/item400.xml"/><Relationship Id="rId442" Type="http://schemas.openxmlformats.org/officeDocument/2006/relationships/customXml" Target="../customXml/item442.xml"/><Relationship Id="rId484" Type="http://schemas.openxmlformats.org/officeDocument/2006/relationships/customXml" Target="../customXml/item484.xml"/><Relationship Id="rId137" Type="http://schemas.openxmlformats.org/officeDocument/2006/relationships/customXml" Target="../customXml/item137.xml"/><Relationship Id="rId302" Type="http://schemas.openxmlformats.org/officeDocument/2006/relationships/customXml" Target="../customXml/item302.xml"/><Relationship Id="rId344" Type="http://schemas.openxmlformats.org/officeDocument/2006/relationships/customXml" Target="../customXml/item344.xml"/><Relationship Id="rId41" Type="http://schemas.openxmlformats.org/officeDocument/2006/relationships/customXml" Target="../customXml/item41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86" Type="http://schemas.openxmlformats.org/officeDocument/2006/relationships/customXml" Target="../customXml/item386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46" Type="http://schemas.openxmlformats.org/officeDocument/2006/relationships/customXml" Target="../customXml/item246.xml"/><Relationship Id="rId288" Type="http://schemas.openxmlformats.org/officeDocument/2006/relationships/customXml" Target="../customXml/item288.xml"/><Relationship Id="rId411" Type="http://schemas.openxmlformats.org/officeDocument/2006/relationships/customXml" Target="../customXml/item411.xml"/><Relationship Id="rId453" Type="http://schemas.openxmlformats.org/officeDocument/2006/relationships/customXml" Target="../customXml/item453.xml"/><Relationship Id="rId509" Type="http://schemas.openxmlformats.org/officeDocument/2006/relationships/customXml" Target="../customXml/item509.xml"/><Relationship Id="rId106" Type="http://schemas.openxmlformats.org/officeDocument/2006/relationships/customXml" Target="../customXml/item106.xml"/><Relationship Id="rId313" Type="http://schemas.openxmlformats.org/officeDocument/2006/relationships/customXml" Target="../customXml/item313.xml"/><Relationship Id="rId495" Type="http://schemas.openxmlformats.org/officeDocument/2006/relationships/customXml" Target="../customXml/item495.xml"/><Relationship Id="rId10" Type="http://schemas.openxmlformats.org/officeDocument/2006/relationships/customXml" Target="../customXml/item10.xml"/><Relationship Id="rId52" Type="http://schemas.openxmlformats.org/officeDocument/2006/relationships/customXml" Target="../customXml/item52.xml"/><Relationship Id="rId94" Type="http://schemas.openxmlformats.org/officeDocument/2006/relationships/customXml" Target="../customXml/item94.xml"/><Relationship Id="rId148" Type="http://schemas.openxmlformats.org/officeDocument/2006/relationships/customXml" Target="../customXml/item148.xml"/><Relationship Id="rId355" Type="http://schemas.openxmlformats.org/officeDocument/2006/relationships/customXml" Target="../customXml/item355.xml"/><Relationship Id="rId397" Type="http://schemas.openxmlformats.org/officeDocument/2006/relationships/customXml" Target="../customXml/item397.xml"/><Relationship Id="rId520" Type="http://schemas.openxmlformats.org/officeDocument/2006/relationships/slide" Target="slides/slide6.xml"/><Relationship Id="rId215" Type="http://schemas.openxmlformats.org/officeDocument/2006/relationships/customXml" Target="../customXml/item215.xml"/><Relationship Id="rId257" Type="http://schemas.openxmlformats.org/officeDocument/2006/relationships/customXml" Target="../customXml/item257.xml"/><Relationship Id="rId422" Type="http://schemas.openxmlformats.org/officeDocument/2006/relationships/customXml" Target="../customXml/item422.xml"/><Relationship Id="rId464" Type="http://schemas.openxmlformats.org/officeDocument/2006/relationships/customXml" Target="../customXml/item464.xml"/><Relationship Id="rId299" Type="http://schemas.openxmlformats.org/officeDocument/2006/relationships/customXml" Target="../customXml/item299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66" Type="http://schemas.openxmlformats.org/officeDocument/2006/relationships/customXml" Target="../customXml/item366.xml"/><Relationship Id="rId226" Type="http://schemas.openxmlformats.org/officeDocument/2006/relationships/customXml" Target="../customXml/item226.xml"/><Relationship Id="rId433" Type="http://schemas.openxmlformats.org/officeDocument/2006/relationships/customXml" Target="../customXml/item433.xml"/><Relationship Id="rId74" Type="http://schemas.openxmlformats.org/officeDocument/2006/relationships/customXml" Target="../customXml/item74.xml"/><Relationship Id="rId377" Type="http://schemas.openxmlformats.org/officeDocument/2006/relationships/customXml" Target="../customXml/item377.xml"/><Relationship Id="rId500" Type="http://schemas.openxmlformats.org/officeDocument/2006/relationships/customXml" Target="../customXml/item50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3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0250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497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567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976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270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146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5299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939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858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430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38707" y="688975"/>
            <a:ext cx="5510018" cy="5510018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7" y="5236383"/>
            <a:ext cx="4487324" cy="81560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>
              <a:defRPr lang="en-US" sz="3000" b="0" dirty="0" smtClean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pPr lvl="0">
              <a:lnSpc>
                <a:spcPct val="80000"/>
              </a:lnSpc>
            </a:pPr>
            <a:r>
              <a:rPr lang="en-US" dirty="0" smtClean="0"/>
              <a:t>Edit Master text styles</a:t>
            </a:r>
          </a:p>
          <a:p>
            <a:pPr lvl="1">
              <a:lnSpc>
                <a:spcPct val="80000"/>
              </a:lnSpc>
            </a:pPr>
            <a:r>
              <a:rPr lang="en-US" dirty="0" smtClean="0"/>
              <a:t>Secon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7" y="6351591"/>
            <a:ext cx="5594348" cy="21544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14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562601" y="1708735"/>
            <a:ext cx="6176962" cy="462687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085" y="1708735"/>
            <a:ext cx="4333663" cy="4626877"/>
          </a:xfrm>
          <a:prstGeom prst="rect">
            <a:avLst/>
          </a:prstGeom>
        </p:spPr>
        <p:txBody>
          <a:bodyPr/>
          <a:lstStyle>
            <a:lvl1pPr>
              <a:spcBef>
                <a:spcPts val="601"/>
              </a:spcBef>
              <a:spcAft>
                <a:spcPts val="0"/>
              </a:spcAft>
              <a:tabLst>
                <a:tab pos="6705349" algn="r"/>
              </a:tabLst>
              <a:defRPr/>
            </a:lvl1pPr>
            <a:lvl2pPr>
              <a:spcBef>
                <a:spcPts val="601"/>
              </a:spcBef>
              <a:spcAft>
                <a:spcPts val="0"/>
              </a:spcAft>
              <a:tabLst>
                <a:tab pos="6705349" algn="r"/>
              </a:tabLst>
              <a:defRPr/>
            </a:lvl2pPr>
            <a:lvl3pPr marL="179998" indent="-179998">
              <a:spcBef>
                <a:spcPts val="601"/>
              </a:spcBef>
              <a:spcAft>
                <a:spcPts val="0"/>
              </a:spcAft>
              <a:tabLst>
                <a:tab pos="6705349" algn="r"/>
              </a:tabLst>
              <a:defRPr/>
            </a:lvl3pPr>
            <a:lvl4pPr marL="359996" indent="-179998">
              <a:spcBef>
                <a:spcPts val="601"/>
              </a:spcBef>
              <a:spcAft>
                <a:spcPts val="0"/>
              </a:spcAft>
              <a:tabLst>
                <a:tab pos="6705349" algn="r"/>
              </a:tabLst>
              <a:defRPr/>
            </a:lvl4pPr>
            <a:lvl5pPr marL="539994" indent="-179998">
              <a:spcBef>
                <a:spcPts val="601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6705349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4344" y="346075"/>
            <a:ext cx="11282362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3557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89913" y="1708838"/>
            <a:ext cx="3550983" cy="4636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53" algn="r"/>
              </a:tabLst>
              <a:defRPr sz="1800">
                <a:solidFill>
                  <a:schemeClr val="accent2"/>
                </a:solidFill>
              </a:defRPr>
            </a:lvl1pPr>
            <a:lvl2pPr>
              <a:tabLst>
                <a:tab pos="3771853" algn="r"/>
              </a:tabLst>
              <a:defRPr/>
            </a:lvl2pPr>
            <a:lvl3pPr>
              <a:tabLst>
                <a:tab pos="3771853" algn="r"/>
              </a:tabLst>
              <a:defRPr/>
            </a:lvl3pPr>
            <a:lvl4pPr>
              <a:tabLst>
                <a:tab pos="3771853" algn="r"/>
              </a:tabLst>
              <a:defRPr/>
            </a:lvl4pPr>
            <a:lvl5pPr>
              <a:tabLst>
                <a:tab pos="3771853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463297" y="1708835"/>
            <a:ext cx="7423403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840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6" y="1708835"/>
            <a:ext cx="7423405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8189913" y="1708835"/>
            <a:ext cx="3562351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7222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5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853" algn="r"/>
              </a:tabLst>
              <a:defRPr sz="1300"/>
            </a:lvl1pPr>
            <a:lvl2pPr marL="104774" indent="-104774" algn="l">
              <a:buClrTx/>
              <a:buSzPct val="100000"/>
              <a:buFont typeface="Arial" panose="020B0604020202020204" pitchFamily="34" charset="0"/>
              <a:buChar char="•"/>
              <a:tabLst>
                <a:tab pos="3771853" algn="r"/>
              </a:tabLst>
              <a:defRPr sz="1300"/>
            </a:lvl2pPr>
            <a:lvl3pPr marL="228598" indent="-104774" algn="l">
              <a:buClrTx/>
              <a:buSzPct val="100000"/>
              <a:buFont typeface="Arial" panose="020B0604020202020204" pitchFamily="34" charset="0"/>
              <a:buChar char="−"/>
              <a:tabLst>
                <a:tab pos="3771853" algn="r"/>
              </a:tabLst>
              <a:defRPr sz="1300"/>
            </a:lvl3pPr>
            <a:lvl4pPr marL="352420" indent="-104774" algn="l">
              <a:buClrTx/>
              <a:buSzPct val="100000"/>
              <a:buFont typeface="Arial" panose="020B0604020202020204" pitchFamily="34" charset="0"/>
              <a:buChar char="◦"/>
              <a:tabLst>
                <a:tab pos="3771853" algn="r"/>
              </a:tabLst>
              <a:defRPr sz="1300"/>
            </a:lvl4pPr>
            <a:lvl5pPr marL="476244" indent="-104774" algn="l">
              <a:buClrTx/>
              <a:buSzPct val="100000"/>
              <a:buFont typeface="Arial" panose="020B0604020202020204" pitchFamily="34" charset="0"/>
              <a:buChar char="−"/>
              <a:tabLst>
                <a:tab pos="3771853" algn="r"/>
              </a:tabLst>
              <a:defRPr sz="13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853" algn="r"/>
              </a:tabLst>
              <a:defRPr sz="1300"/>
            </a:lvl1pPr>
            <a:lvl2pPr marL="104774" indent="-104774" algn="l">
              <a:buClrTx/>
              <a:buSzPct val="100000"/>
              <a:buFont typeface="Arial" panose="020B0604020202020204" pitchFamily="34" charset="0"/>
              <a:buChar char="•"/>
              <a:tabLst>
                <a:tab pos="3771853" algn="r"/>
              </a:tabLst>
              <a:defRPr sz="1300"/>
            </a:lvl2pPr>
            <a:lvl3pPr marL="228598" indent="-104774" algn="l">
              <a:buClrTx/>
              <a:buSzPct val="100000"/>
              <a:buFont typeface="Arial" panose="020B0604020202020204" pitchFamily="34" charset="0"/>
              <a:buChar char="−"/>
              <a:tabLst>
                <a:tab pos="3771853" algn="r"/>
              </a:tabLst>
              <a:defRPr sz="1300"/>
            </a:lvl3pPr>
            <a:lvl4pPr marL="352420" indent="-104774" algn="l">
              <a:buClrTx/>
              <a:buSzPct val="100000"/>
              <a:buFont typeface="Arial" panose="020B0604020202020204" pitchFamily="34" charset="0"/>
              <a:buChar char="◦"/>
              <a:tabLst>
                <a:tab pos="3771853" algn="r"/>
              </a:tabLst>
              <a:defRPr sz="1300"/>
            </a:lvl4pPr>
            <a:lvl5pPr marL="476244" indent="-104774" algn="l">
              <a:buClrTx/>
              <a:buSzPct val="100000"/>
              <a:buFont typeface="Arial" panose="020B0604020202020204" pitchFamily="34" charset="0"/>
              <a:buChar char="−"/>
              <a:tabLst>
                <a:tab pos="3771853" algn="r"/>
              </a:tabLst>
              <a:defRPr sz="13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50290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8" y="2185012"/>
            <a:ext cx="1728000" cy="172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2185012"/>
            <a:ext cx="9242851" cy="194400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noProof="0" dirty="0"/>
            </a:lvl1pPr>
            <a:lvl2pPr>
              <a:spcAft>
                <a:spcPts val="300"/>
              </a:spcAft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4091931"/>
            <a:ext cx="1724026" cy="6386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noProof="0" dirty="0"/>
            </a:lvl1pPr>
            <a:lvl2pPr>
              <a:spcAft>
                <a:spcPts val="300"/>
              </a:spcAft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34" hasCustomPrompt="1"/>
          </p:nvPr>
        </p:nvSpPr>
        <p:spPr>
          <a:xfrm>
            <a:off x="457201" y="1880212"/>
            <a:ext cx="11264899" cy="186713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23962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900" y="1880215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1880212"/>
            <a:ext cx="9242851" cy="1567838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3615683"/>
            <a:ext cx="1724026" cy="37702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900" y="4330383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2479248" y="4330380"/>
            <a:ext cx="9242851" cy="1567838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0" y="6065852"/>
            <a:ext cx="1724026" cy="37702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86683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78611" y="1709366"/>
            <a:ext cx="5526904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300"/>
              </a:spcBef>
              <a:spcAft>
                <a:spcPts val="0"/>
              </a:spcAft>
              <a:defRPr/>
            </a:lvl1pPr>
            <a:lvl2pPr>
              <a:spcBef>
                <a:spcPts val="300"/>
              </a:spcBef>
              <a:spcAft>
                <a:spcPts val="0"/>
              </a:spcAft>
              <a:defRPr/>
            </a:lvl2pPr>
            <a:lvl3pPr marL="179998" indent="-179998">
              <a:spcBef>
                <a:spcPts val="300"/>
              </a:spcBef>
              <a:spcAft>
                <a:spcPts val="0"/>
              </a:spcAft>
              <a:defRPr/>
            </a:lvl3pPr>
            <a:lvl4pPr marL="359996" indent="-179998">
              <a:spcBef>
                <a:spcPts val="300"/>
              </a:spcBef>
              <a:spcAft>
                <a:spcPts val="0"/>
              </a:spcAft>
              <a:defRPr/>
            </a:lvl4pPr>
            <a:lvl5pPr marL="539994" indent="-179998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184901" y="1709366"/>
            <a:ext cx="5537200" cy="459898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850"/>
            </a:lvl1pPr>
            <a:lvl2pPr>
              <a:spcBef>
                <a:spcPts val="300"/>
              </a:spcBef>
              <a:spcAft>
                <a:spcPts val="0"/>
              </a:spcAft>
              <a:defRPr sz="1149"/>
            </a:lvl2pPr>
            <a:lvl3pPr>
              <a:spcBef>
                <a:spcPts val="300"/>
              </a:spcBef>
              <a:spcAft>
                <a:spcPts val="0"/>
              </a:spcAft>
              <a:defRPr sz="850"/>
            </a:lvl3pPr>
            <a:lvl4pPr>
              <a:spcBef>
                <a:spcPts val="300"/>
              </a:spcBef>
              <a:spcAft>
                <a:spcPts val="0"/>
              </a:spcAft>
              <a:defRPr sz="850"/>
            </a:lvl4pPr>
            <a:lvl5pPr>
              <a:spcBef>
                <a:spcPts val="300"/>
              </a:spcBef>
              <a:spcAft>
                <a:spcPts val="0"/>
              </a:spcAft>
              <a:defRPr sz="85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17530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78609" y="1709366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1"/>
              </a:spcBef>
              <a:spcAft>
                <a:spcPts val="0"/>
              </a:spcAft>
              <a:defRPr/>
            </a:lvl1pPr>
            <a:lvl2pPr>
              <a:spcBef>
                <a:spcPts val="601"/>
              </a:spcBef>
              <a:spcAft>
                <a:spcPts val="0"/>
              </a:spcAft>
              <a:defRPr/>
            </a:lvl2pPr>
            <a:lvl3pPr marL="179998" indent="-179998">
              <a:spcBef>
                <a:spcPts val="601"/>
              </a:spcBef>
              <a:spcAft>
                <a:spcPts val="0"/>
              </a:spcAft>
              <a:defRPr/>
            </a:lvl3pPr>
            <a:lvl4pPr marL="359996" indent="-179998">
              <a:spcBef>
                <a:spcPts val="601"/>
              </a:spcBef>
              <a:spcAft>
                <a:spcPts val="0"/>
              </a:spcAft>
              <a:defRPr/>
            </a:lvl4pPr>
            <a:lvl5pPr marL="539994" indent="-179998">
              <a:spcBef>
                <a:spcPts val="601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06182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51632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  <p:sp>
        <p:nvSpPr>
          <p:cNvPr id="4" name="text" descr="{&quot;templafy&quot;:{&quot;id&quot;:&quot;6b4eb5bb-f3f9-436d-82e5-9160af3f0761&quot;}}" title="UserProfile.Language.Copyright">
            <a:extLst>
              <a:ext uri="{FF2B5EF4-FFF2-40B4-BE49-F238E27FC236}">
                <a16:creationId xmlns:a16="http://schemas.microsoft.com/office/drawing/2014/main" id="{1AD4C72A-BBD7-4A7D-8077-08BD6960851E}"/>
              </a:ext>
            </a:extLst>
          </p:cNvPr>
          <p:cNvSpPr txBox="1"/>
          <p:nvPr userDrawn="1"/>
        </p:nvSpPr>
        <p:spPr>
          <a:xfrm>
            <a:off x="460376" y="5813909"/>
            <a:ext cx="4320000" cy="8094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Настоящее сообщение содержит информацию только общего характера. При этом компании Группы ДРТ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(АО ДРТ и его аффилированные лица) не предо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с квалифицированным специалистом. Ни одно из юридических лиц, входящих в Группу ДРТ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ООО «ДРТ Консалтинг»</a:t>
            </a:r>
          </a:p>
        </p:txBody>
      </p:sp>
    </p:spTree>
    <p:extLst>
      <p:ext uri="{BB962C8B-B14F-4D97-AF65-F5344CB8AC3E}">
        <p14:creationId xmlns:p14="http://schemas.microsoft.com/office/powerpoint/2010/main" val="3489501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5236383"/>
            <a:ext cx="4903640" cy="81560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>
              <a:defRPr lang="en-US" sz="3000" b="0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pPr lvl="0">
              <a:lnSpc>
                <a:spcPct val="80000"/>
              </a:lnSpc>
            </a:pPr>
            <a:r>
              <a:rPr lang="en-US" dirty="0" smtClean="0"/>
              <a:t>Edit Master text styles</a:t>
            </a:r>
          </a:p>
          <a:p>
            <a:pPr lvl="1">
              <a:lnSpc>
                <a:spcPct val="80000"/>
              </a:lnSpc>
            </a:pPr>
            <a:r>
              <a:rPr lang="en-US" dirty="0" smtClean="0"/>
              <a:t>Secon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601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et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57476" y="1710016"/>
            <a:ext cx="9067100" cy="4635223"/>
          </a:xfrm>
        </p:spPr>
        <p:txBody>
          <a:bodyPr>
            <a:noAutofit/>
          </a:bodyPr>
          <a:lstStyle>
            <a:lvl1pPr>
              <a:spcBef>
                <a:spcPts val="601"/>
              </a:spcBef>
              <a:spcAft>
                <a:spcPts val="0"/>
              </a:spcAft>
              <a:defRPr sz="1300"/>
            </a:lvl1pPr>
            <a:lvl2pPr>
              <a:spcBef>
                <a:spcPts val="601"/>
              </a:spcBef>
              <a:spcAft>
                <a:spcPts val="0"/>
              </a:spcAft>
              <a:defRPr sz="1300"/>
            </a:lvl2pPr>
            <a:lvl3pPr>
              <a:spcBef>
                <a:spcPts val="601"/>
              </a:spcBef>
              <a:spcAft>
                <a:spcPts val="0"/>
              </a:spcAft>
              <a:defRPr sz="1300"/>
            </a:lvl3pPr>
            <a:lvl4pPr>
              <a:spcBef>
                <a:spcPts val="601"/>
              </a:spcBef>
              <a:spcAft>
                <a:spcPts val="0"/>
              </a:spcAft>
              <a:defRPr sz="1300"/>
            </a:lvl4pPr>
            <a:lvl5pPr>
              <a:spcBef>
                <a:spcPts val="601"/>
              </a:spcBef>
              <a:spcAft>
                <a:spcPts val="0"/>
              </a:spcAft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" descr="{&quot;templafy&quot;:{&quot;id&quot;:&quot;6bd1edd4-2ed5-41a9-be55-c40c61efa266&quot;}}" title="UserProfile.Language.PpAddress">
            <a:extLst>
              <a:ext uri="{FF2B5EF4-FFF2-40B4-BE49-F238E27FC236}">
                <a16:creationId xmlns:a16="http://schemas.microsoft.com/office/drawing/2014/main" id="{34786518-B9ED-4287-8F34-CFAB05C5D177}"/>
              </a:ext>
            </a:extLst>
          </p:cNvPr>
          <p:cNvSpPr txBox="1"/>
          <p:nvPr userDrawn="1"/>
        </p:nvSpPr>
        <p:spPr>
          <a:xfrm>
            <a:off x="9240684" y="355603"/>
            <a:ext cx="250294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ООО «ДРТ Консалтинг»</a:t>
            </a:r>
            <a: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ул. Лесная, д. 5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Москва, 12504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Росс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endParaRPr lang="ru-RU" sz="900" kern="1200" dirty="0" smtClean="0">
              <a:solidFill>
                <a:schemeClr val="bg1"/>
              </a:solidFill>
              <a:latin typeface="+mn-lt"/>
              <a:ea typeface="+mn-ea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Тел.:  +7 (495) 787 06 00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Факс: +7 (495) 787 06 01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www.delret.ru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7200" y="1700216"/>
            <a:ext cx="1938338" cy="193833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9899" y="3829051"/>
            <a:ext cx="1925638" cy="25161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52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let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57476" y="1710016"/>
            <a:ext cx="9067100" cy="4635223"/>
          </a:xfrm>
        </p:spPr>
        <p:txBody>
          <a:bodyPr>
            <a:noAutofit/>
          </a:bodyPr>
          <a:lstStyle>
            <a:lvl1pPr>
              <a:spcBef>
                <a:spcPts val="601"/>
              </a:spcBef>
              <a:spcAft>
                <a:spcPts val="0"/>
              </a:spcAft>
              <a:defRPr sz="1300"/>
            </a:lvl1pPr>
            <a:lvl2pPr>
              <a:spcBef>
                <a:spcPts val="601"/>
              </a:spcBef>
              <a:spcAft>
                <a:spcPts val="0"/>
              </a:spcAft>
              <a:defRPr sz="1300"/>
            </a:lvl2pPr>
            <a:lvl3pPr>
              <a:spcBef>
                <a:spcPts val="601"/>
              </a:spcBef>
              <a:spcAft>
                <a:spcPts val="0"/>
              </a:spcAft>
              <a:defRPr sz="1300"/>
            </a:lvl3pPr>
            <a:lvl4pPr>
              <a:spcBef>
                <a:spcPts val="601"/>
              </a:spcBef>
              <a:spcAft>
                <a:spcPts val="0"/>
              </a:spcAft>
              <a:defRPr sz="1300"/>
            </a:lvl4pPr>
            <a:lvl5pPr>
              <a:spcBef>
                <a:spcPts val="601"/>
              </a:spcBef>
              <a:spcAft>
                <a:spcPts val="0"/>
              </a:spcAft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" descr="{&quot;templafy&quot;:{&quot;id&quot;:&quot;ef7eeff8-ed7e-4e8f-9b6a-a01968e2fc1c&quot;}}" title="UserProfile.Language.PpAddress">
            <a:extLst>
              <a:ext uri="{FF2B5EF4-FFF2-40B4-BE49-F238E27FC236}">
                <a16:creationId xmlns:a16="http://schemas.microsoft.com/office/drawing/2014/main" id="{34786518-B9ED-4287-8F34-CFAB05C5D177}"/>
              </a:ext>
            </a:extLst>
          </p:cNvPr>
          <p:cNvSpPr txBox="1"/>
          <p:nvPr userDrawn="1"/>
        </p:nvSpPr>
        <p:spPr>
          <a:xfrm>
            <a:off x="9240684" y="355603"/>
            <a:ext cx="250294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ООО «ДРТ Консалтинг»</a:t>
            </a:r>
            <a: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ул. Лесная, д. 5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Москва, 12504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Росс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endParaRPr lang="ru-RU" sz="900" kern="1200" dirty="0" smtClean="0">
              <a:solidFill>
                <a:schemeClr val="bg1"/>
              </a:solidFill>
              <a:latin typeface="+mn-lt"/>
              <a:ea typeface="+mn-ea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Тел.:  +7 (495) 787 06 00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Факс: +7 (495) 787 06 01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www.delret.ru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9899" y="1710016"/>
            <a:ext cx="1925638" cy="463522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050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let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57476" y="1710016"/>
            <a:ext cx="9067100" cy="4635222"/>
          </a:xfrm>
        </p:spPr>
        <p:txBody>
          <a:bodyPr>
            <a:noAutofit/>
          </a:bodyPr>
          <a:lstStyle>
            <a:lvl1pPr>
              <a:spcBef>
                <a:spcPts val="601"/>
              </a:spcBef>
              <a:spcAft>
                <a:spcPts val="0"/>
              </a:spcAft>
              <a:defRPr sz="1300"/>
            </a:lvl1pPr>
            <a:lvl2pPr>
              <a:spcBef>
                <a:spcPts val="601"/>
              </a:spcBef>
              <a:spcAft>
                <a:spcPts val="0"/>
              </a:spcAft>
              <a:defRPr sz="1300"/>
            </a:lvl2pPr>
            <a:lvl3pPr>
              <a:spcBef>
                <a:spcPts val="601"/>
              </a:spcBef>
              <a:spcAft>
                <a:spcPts val="0"/>
              </a:spcAft>
              <a:defRPr sz="1300"/>
            </a:lvl3pPr>
            <a:lvl4pPr>
              <a:spcBef>
                <a:spcPts val="601"/>
              </a:spcBef>
              <a:spcAft>
                <a:spcPts val="0"/>
              </a:spcAft>
              <a:defRPr sz="1300"/>
            </a:lvl4pPr>
            <a:lvl5pPr>
              <a:spcBef>
                <a:spcPts val="601"/>
              </a:spcBef>
              <a:spcAft>
                <a:spcPts val="0"/>
              </a:spcAft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" descr="{&quot;templafy&quot;:{&quot;id&quot;:&quot;f2c09eb7-beb6-4d5e-9833-40dcc2f2e536&quot;}}" title="UserProfile.Language.PpAddress">
            <a:extLst>
              <a:ext uri="{FF2B5EF4-FFF2-40B4-BE49-F238E27FC236}">
                <a16:creationId xmlns:a16="http://schemas.microsoft.com/office/drawing/2014/main" id="{34786518-B9ED-4287-8F34-CFAB05C5D177}"/>
              </a:ext>
            </a:extLst>
          </p:cNvPr>
          <p:cNvSpPr txBox="1"/>
          <p:nvPr userDrawn="1"/>
        </p:nvSpPr>
        <p:spPr>
          <a:xfrm>
            <a:off x="9240684" y="355603"/>
            <a:ext cx="250294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ООО «ДРТ Консалтинг»</a:t>
            </a:r>
            <a: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ул. Лесная, д. 5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Москва, 12504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Росс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endParaRPr lang="ru-RU" sz="900" kern="1200" dirty="0" smtClean="0">
              <a:solidFill>
                <a:schemeClr val="bg1"/>
              </a:solidFill>
              <a:latin typeface="+mn-lt"/>
              <a:ea typeface="+mn-ea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Тел.:  +7 (495) 787 06 00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Факс: +7 (495) 787 06 01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www.delret.ru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669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8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463294" y="1708835"/>
            <a:ext cx="11277601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0770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4" y="682943"/>
            <a:ext cx="112776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463294" y="1708835"/>
            <a:ext cx="11277601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505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5488244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6264020" y="1708835"/>
            <a:ext cx="5488244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1696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8790" y="1708838"/>
            <a:ext cx="11274425" cy="4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614606" y="6520949"/>
            <a:ext cx="4896561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Налогообложение в странах Каспийского региона: ключевые аспекты и особенности налогообложения</a:t>
            </a:r>
            <a:endParaRPr lang="ru-RU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30511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8" name="text" descr="{&quot;templafy&quot;:{&quot;id&quot;:&quot;6b4eb5bb-f3f9-436d-82e5-9160af3f0761&quot;}}" title="UserProfile.Language.Copyright">
            <a:extLst>
              <a:ext uri="{FF2B5EF4-FFF2-40B4-BE49-F238E27FC236}">
                <a16:creationId xmlns:a16="http://schemas.microsoft.com/office/drawing/2014/main" id="{1AD4C72A-BBD7-4A7D-8077-08BD6960851E}"/>
              </a:ext>
            </a:extLst>
          </p:cNvPr>
          <p:cNvSpPr txBox="1"/>
          <p:nvPr userDrawn="1"/>
        </p:nvSpPr>
        <p:spPr>
          <a:xfrm>
            <a:off x="460376" y="6523334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ООО «ДРТ Консалтинг»</a:t>
            </a:r>
            <a:endParaRPr lang="fr-FR" sz="680" kern="1200" noProof="0" dirty="0">
              <a:solidFill>
                <a:schemeClr val="bg1"/>
              </a:solidFill>
              <a:latin typeface="+mn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1" y="345664"/>
            <a:ext cx="11281284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955" r:id="rId2"/>
    <p:sldLayoutId id="2147483949" r:id="rId3"/>
    <p:sldLayoutId id="2147483956" r:id="rId4"/>
    <p:sldLayoutId id="2147483957" r:id="rId5"/>
    <p:sldLayoutId id="2147483942" r:id="rId6"/>
    <p:sldLayoutId id="2147483944" r:id="rId7"/>
    <p:sldLayoutId id="2147483898" r:id="rId8"/>
    <p:sldLayoutId id="2147483943" r:id="rId9"/>
    <p:sldLayoutId id="2147483889" r:id="rId10"/>
    <p:sldLayoutId id="2147483900" r:id="rId11"/>
    <p:sldLayoutId id="2147483941" r:id="rId12"/>
    <p:sldLayoutId id="2147483923" r:id="rId13"/>
    <p:sldLayoutId id="2147483939" r:id="rId14"/>
    <p:sldLayoutId id="2147483940" r:id="rId15"/>
    <p:sldLayoutId id="2147483929" r:id="rId16"/>
    <p:sldLayoutId id="2147483930" r:id="rId17"/>
    <p:sldLayoutId id="2147483933" r:id="rId18"/>
    <p:sldLayoutId id="2147483850" r:id="rId1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55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19155" rtl="0" eaLnBrk="1" latinLnBrk="0" hangingPunct="1">
        <a:spcBef>
          <a:spcPts val="0"/>
        </a:spcBef>
        <a:spcAft>
          <a:spcPts val="601"/>
        </a:spcAft>
        <a:buSzPct val="100000"/>
        <a:buFont typeface="Arial" panose="020B0604020202020204" pitchFamily="34" charset="0"/>
        <a:buNone/>
        <a:defRPr sz="1300" b="0" kern="120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1pPr>
      <a:lvl2pPr marL="0" indent="0" algn="l" defTabSz="1219155" rtl="0" eaLnBrk="1" latinLnBrk="0" hangingPunct="1">
        <a:spcBef>
          <a:spcPts val="0"/>
        </a:spcBef>
        <a:spcAft>
          <a:spcPts val="601"/>
        </a:spcAft>
        <a:buClrTx/>
        <a:buSzPct val="100000"/>
        <a:buFont typeface="Arial"/>
        <a:buNone/>
        <a:defRPr lang="en-US" sz="1300" b="1" kern="1200" dirty="0" smtClean="0">
          <a:solidFill>
            <a:schemeClr val="bg1"/>
          </a:solidFill>
          <a:latin typeface="+mj-lt"/>
          <a:ea typeface="+mn-ea"/>
          <a:cs typeface="Calibri" panose="020F0502020204030204" pitchFamily="34" charset="0"/>
        </a:defRPr>
      </a:lvl2pPr>
      <a:lvl3pPr marL="179998" indent="-179998" algn="l" defTabSz="1219155" rtl="0" eaLnBrk="1" latinLnBrk="0" hangingPunct="1">
        <a:spcBef>
          <a:spcPts val="0"/>
        </a:spcBef>
        <a:spcAft>
          <a:spcPts val="601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3pPr>
      <a:lvl4pPr marL="359996" indent="-179998" algn="l" defTabSz="1219155" rtl="0" eaLnBrk="1" latinLnBrk="0" hangingPunct="1">
        <a:spcBef>
          <a:spcPts val="0"/>
        </a:spcBef>
        <a:spcAft>
          <a:spcPts val="601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4pPr>
      <a:lvl5pPr marL="539994" indent="-179998" algn="l" defTabSz="1064645" rtl="0" eaLnBrk="1" latinLnBrk="0" hangingPunct="1">
        <a:spcBef>
          <a:spcPts val="0"/>
        </a:spcBef>
        <a:spcAft>
          <a:spcPts val="601"/>
        </a:spcAft>
        <a:buClrTx/>
        <a:buSzPct val="100000"/>
        <a:buFont typeface="Arial" panose="020B0604020202020204" pitchFamily="34" charset="0"/>
        <a:buChar char="•"/>
        <a:tabLst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5pPr>
      <a:lvl6pPr marL="710373" indent="-235191" algn="l" defTabSz="1219155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73" indent="-235191" algn="l" defTabSz="1219155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1" kern="1200">
          <a:solidFill>
            <a:schemeClr val="tx1"/>
          </a:solidFill>
          <a:latin typeface="+mn-lt"/>
          <a:ea typeface="+mn-ea"/>
          <a:cs typeface="+mn-cs"/>
        </a:defRPr>
      </a:lvl7pPr>
      <a:lvl8pPr marL="710373" indent="-235191" algn="l" defTabSz="1219155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73" indent="-235191" algn="l" defTabSz="1219155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8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55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32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08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87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64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40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19" algn="l" defTabSz="12191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59">
          <p15:clr>
            <a:srgbClr val="A4A3A4"/>
          </p15:clr>
        </p15:guide>
        <p15:guide id="3" orient="horz" pos="3997">
          <p15:clr>
            <a:srgbClr val="A4A3A4"/>
          </p15:clr>
        </p15:guide>
        <p15:guide id="5" pos="7395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18">
          <p15:clr>
            <a:srgbClr val="A4A3A4"/>
          </p15:clr>
        </p15:guide>
        <p15:guide id="8" orient="horz" pos="4106">
          <p15:clr>
            <a:srgbClr val="A4A3A4"/>
          </p15:clr>
        </p15:guide>
        <p15:guide id="10" pos="4968">
          <p15:clr>
            <a:srgbClr val="A4A3A4"/>
          </p15:clr>
        </p15:guide>
        <p15:guide id="12" pos="1317">
          <p15:clr>
            <a:srgbClr val="A4A3A4"/>
          </p15:clr>
        </p15:guide>
        <p15:guide id="13" pos="1509">
          <p15:clr>
            <a:srgbClr val="A4A3A4"/>
          </p15:clr>
        </p15:guide>
        <p15:guide id="14" pos="2531">
          <p15:clr>
            <a:srgbClr val="A4A3A4"/>
          </p15:clr>
        </p15:guide>
        <p15:guide id="15" pos="2720">
          <p15:clr>
            <a:srgbClr val="A4A3A4"/>
          </p15:clr>
        </p15:guide>
        <p15:guide id="16" pos="6172">
          <p15:clr>
            <a:srgbClr val="A4A3A4"/>
          </p15:clr>
        </p15:guide>
        <p15:guide id="17" pos="3749">
          <p15:clr>
            <a:srgbClr val="A4A3A4"/>
          </p15:clr>
        </p15:guide>
        <p15:guide id="18" pos="3939">
          <p15:clr>
            <a:srgbClr val="A4A3A4"/>
          </p15:clr>
        </p15:guide>
        <p15:guide id="19" pos="3840">
          <p15:clr>
            <a:srgbClr val="A4A3A4"/>
          </p15:clr>
        </p15:guide>
        <p15:guide id="20" pos="6371">
          <p15:clr>
            <a:srgbClr val="A4A3A4"/>
          </p15:clr>
        </p15:guide>
        <p15:guide id="24" orient="horz" pos="434">
          <p15:clr>
            <a:srgbClr val="A4A3A4"/>
          </p15:clr>
        </p15:guide>
        <p15:guide id="27" pos="28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abidullaas@arbaudit.kz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customXml" Target="../../customXml/item300.xml"/><Relationship Id="rId1" Type="http://schemas.openxmlformats.org/officeDocument/2006/relationships/customXml" Target="../../customXml/item306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hyperlink" Target="mailto:rustamtd@arbaudit.kz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customXml" Target="../../customXml/item198.xml"/><Relationship Id="rId1" Type="http://schemas.openxmlformats.org/officeDocument/2006/relationships/customXml" Target="../../customXml/item57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486.xml"/><Relationship Id="rId1" Type="http://schemas.openxmlformats.org/officeDocument/2006/relationships/customXml" Target="../../customXml/item403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customXml" Target="../../customXml/item169.xml"/><Relationship Id="rId1" Type="http://schemas.openxmlformats.org/officeDocument/2006/relationships/customXml" Target="../../customXml/item189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customXml" Target="../../customXml/item335.xml"/><Relationship Id="rId1" Type="http://schemas.openxmlformats.org/officeDocument/2006/relationships/customXml" Target="../../customXml/item381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customXml" Target="../../customXml/item257.xml"/><Relationship Id="rId1" Type="http://schemas.openxmlformats.org/officeDocument/2006/relationships/customXml" Target="../../customXml/item195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customXml" Target="../../customXml/item148.xml"/><Relationship Id="rId1" Type="http://schemas.openxmlformats.org/officeDocument/2006/relationships/customXml" Target="../../customXml/item73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customXml" Target="../../customXml/item161.xml"/><Relationship Id="rId1" Type="http://schemas.openxmlformats.org/officeDocument/2006/relationships/customXml" Target="../../customXml/item1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customXml" Target="../../customXml/item78.xml"/><Relationship Id="rId1" Type="http://schemas.openxmlformats.org/officeDocument/2006/relationships/customXml" Target="../../customXml/item53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customXml" Target="../../customXml/item323.xml"/><Relationship Id="rId1" Type="http://schemas.openxmlformats.org/officeDocument/2006/relationships/customXml" Target="../../customXml/item468.x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3294" y="345994"/>
            <a:ext cx="11277601" cy="706951"/>
          </a:xfrm>
        </p:spPr>
        <p:txBody>
          <a:bodyPr/>
          <a:lstStyle/>
          <a:p>
            <a:r>
              <a:rPr lang="ru-RU" sz="3600" b="1" dirty="0" smtClean="0"/>
              <a:t>Блок</a:t>
            </a:r>
            <a:r>
              <a:rPr lang="ru-RU" sz="4000" b="1" dirty="0" smtClean="0"/>
              <a:t> </a:t>
            </a:r>
            <a:r>
              <a:rPr lang="en-US" sz="4000" b="1" dirty="0" smtClean="0"/>
              <a:t>4</a:t>
            </a:r>
            <a:endParaRPr lang="en-US" sz="4000" b="1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 bwMode="gray">
          <a:xfrm>
            <a:off x="445599" y="928333"/>
            <a:ext cx="7423402" cy="121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42895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500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685792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None/>
              <a:defRPr lang="en-US" sz="135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1028687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None/>
              <a:defRPr lang="en-US" sz="1199" kern="1200" baseline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1371584" indent="0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199" kern="1200" baseline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1714479" indent="0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199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374" indent="0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1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270" indent="0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199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166" indent="0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199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ru-RU" dirty="0">
                <a:cs typeface="Calibri Light" panose="020F0302020204030204" pitchFamily="34" charset="0"/>
              </a:rPr>
              <a:t>Особенности налогообложения в </a:t>
            </a:r>
            <a:r>
              <a:rPr lang="ru-RU" dirty="0" smtClean="0">
                <a:cs typeface="Calibri Light" panose="020F0302020204030204" pitchFamily="34" charset="0"/>
              </a:rPr>
              <a:t>Казахстане</a:t>
            </a:r>
            <a:endParaRPr lang="ru-RU" dirty="0">
              <a:cs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390" y="1635284"/>
            <a:ext cx="5265505" cy="37519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275" y="2437427"/>
            <a:ext cx="2297290" cy="1694426"/>
          </a:xfrm>
          <a:prstGeom prst="ellipse">
            <a:avLst/>
          </a:prstGeom>
        </p:spPr>
      </p:pic>
      <p:sp>
        <p:nvSpPr>
          <p:cNvPr id="6" name="Title 14"/>
          <p:cNvSpPr txBox="1">
            <a:spLocks/>
          </p:cNvSpPr>
          <p:nvPr/>
        </p:nvSpPr>
        <p:spPr>
          <a:xfrm>
            <a:off x="612275" y="4221163"/>
            <a:ext cx="2880072" cy="213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90571" rtl="0" eaLnBrk="1" latinLnBrk="0" hangingPunct="1">
              <a:spcBef>
                <a:spcPct val="0"/>
              </a:spcBef>
              <a:buNone/>
              <a:defRPr lang="en-US" sz="18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ru-RU" b="1" dirty="0" err="1" smtClean="0">
                <a:solidFill>
                  <a:srgbClr val="43B02A"/>
                </a:solidFill>
              </a:rPr>
              <a:t>Абидулла</a:t>
            </a:r>
            <a:r>
              <a:rPr lang="ru-RU" b="1" dirty="0" smtClean="0">
                <a:solidFill>
                  <a:srgbClr val="43B02A"/>
                </a:solidFill>
              </a:rPr>
              <a:t> </a:t>
            </a:r>
            <a:r>
              <a:rPr lang="ru-RU" b="1" dirty="0" err="1" smtClean="0">
                <a:solidFill>
                  <a:srgbClr val="43B02A"/>
                </a:solidFill>
              </a:rPr>
              <a:t>Аушан</a:t>
            </a:r>
            <a:endParaRPr lang="ru-RU" b="1" dirty="0">
              <a:solidFill>
                <a:srgbClr val="43B02A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bg1"/>
                </a:solidFill>
              </a:rPr>
              <a:t>Управляющий партнер, Аудитор</a:t>
            </a:r>
            <a:endParaRPr lang="ru-RU" b="1" dirty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ARBAudit</a:t>
            </a:r>
            <a:endParaRPr lang="ru-RU" b="1" dirty="0" smtClean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ru-RU" dirty="0">
                <a:solidFill>
                  <a:schemeClr val="bg1"/>
                </a:solidFill>
              </a:rPr>
              <a:t>+7 (727) 385 56 24</a:t>
            </a: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ru-RU" dirty="0">
                <a:solidFill>
                  <a:schemeClr val="bg1"/>
                </a:solidFill>
              </a:rPr>
              <a:t>+7 (777) 231 90 </a:t>
            </a:r>
            <a:r>
              <a:rPr lang="ru-RU" dirty="0" smtClean="0">
                <a:solidFill>
                  <a:schemeClr val="bg1"/>
                </a:solidFill>
              </a:rPr>
              <a:t>19</a:t>
            </a: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>
                <a:solidFill>
                  <a:schemeClr val="bg1"/>
                </a:solidFill>
                <a:hlinkClick r:id="rId8"/>
              </a:rPr>
              <a:t>abidullaas@arbaudit.kz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14"/>
          <p:cNvSpPr txBox="1">
            <a:spLocks/>
          </p:cNvSpPr>
          <p:nvPr/>
        </p:nvSpPr>
        <p:spPr>
          <a:xfrm>
            <a:off x="3760209" y="4221163"/>
            <a:ext cx="2848219" cy="18158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90571" rtl="0" eaLnBrk="1" latinLnBrk="0" hangingPunct="1">
              <a:spcBef>
                <a:spcPct val="0"/>
              </a:spcBef>
              <a:buNone/>
              <a:defRPr lang="en-US" sz="18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ru-RU" b="1" dirty="0" smtClean="0">
                <a:solidFill>
                  <a:srgbClr val="43B02A"/>
                </a:solidFill>
              </a:rPr>
              <a:t>Рустам Таиров</a:t>
            </a:r>
            <a:endParaRPr lang="ru-RU" b="1" dirty="0">
              <a:solidFill>
                <a:srgbClr val="43B02A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bg1"/>
                </a:solidFill>
              </a:rPr>
              <a:t>Управляющий партнер, Аудитор</a:t>
            </a:r>
            <a:endParaRPr lang="ru-RU" b="1" dirty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en-US" b="1" dirty="0" err="1">
                <a:solidFill>
                  <a:schemeClr val="bg1"/>
                </a:solidFill>
              </a:rPr>
              <a:t>ARBAudit</a:t>
            </a:r>
            <a:endParaRPr lang="ru-RU" b="1" dirty="0" smtClean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it-IT" dirty="0" smtClean="0">
                <a:solidFill>
                  <a:schemeClr val="bg1"/>
                </a:solidFill>
              </a:rPr>
              <a:t>+</a:t>
            </a:r>
            <a:r>
              <a:rPr lang="it-IT" dirty="0">
                <a:solidFill>
                  <a:schemeClr val="bg1"/>
                </a:solidFill>
              </a:rPr>
              <a:t>7 (777) 706 06 55</a:t>
            </a:r>
          </a:p>
          <a:p>
            <a:pPr lvl="0" defTabSz="914400">
              <a:spcBef>
                <a:spcPts val="0"/>
              </a:spcBef>
              <a:spcAft>
                <a:spcPts val="300"/>
              </a:spcAft>
              <a:defRPr/>
            </a:pPr>
            <a:r>
              <a:rPr lang="it-IT" dirty="0" smtClean="0">
                <a:solidFill>
                  <a:schemeClr val="bg1"/>
                </a:solidFill>
                <a:hlinkClick r:id="rId9"/>
              </a:rPr>
              <a:t>rustamtd@arbaudit.kz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61435" y="2437427"/>
            <a:ext cx="2390103" cy="1695600"/>
          </a:xfrm>
          <a:prstGeom prst="ellipse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395474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Обсуждаемые поправки в налоговом законодательстве РК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87246" y="2000069"/>
            <a:ext cx="4839857" cy="2031325"/>
          </a:xfrm>
          <a:prstGeom prst="rect">
            <a:avLst/>
          </a:prstGeom>
          <a:ln>
            <a:solidFill>
              <a:srgbClr val="43B02A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В целях надлежащего исполнении налоговых обязательств налогоплательщик при совершении сделок (операций) проявляет должную налоговую осмотрительность. </a:t>
            </a:r>
          </a:p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Проявление должной налоговой осмотрительности осуществляется путем получения отчета, сформированного по запросу налогоплательщика посредством информационной системы, предоставляющей возможность получения комплексной информации о субъектах предпринимательства, являющейся общедоступной.</a:t>
            </a:r>
          </a:p>
        </p:txBody>
      </p:sp>
      <p:sp>
        <p:nvSpPr>
          <p:cNvPr id="37" name="Rounded Rectangle 36"/>
          <p:cNvSpPr/>
          <p:nvPr/>
        </p:nvSpPr>
        <p:spPr bwMode="gray">
          <a:xfrm>
            <a:off x="457200" y="1539370"/>
            <a:ext cx="5099950" cy="460699"/>
          </a:xfrm>
          <a:prstGeom prst="roundRect">
            <a:avLst/>
          </a:prstGeom>
          <a:solidFill>
            <a:schemeClr val="accent2"/>
          </a:solidFill>
          <a:ln>
            <a:solidFill>
              <a:srgbClr val="43B02A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Статья 73-1. Должная налоговая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смотрительность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769659" y="1281057"/>
            <a:ext cx="4839857" cy="5047536"/>
          </a:xfrm>
          <a:prstGeom prst="rect">
            <a:avLst/>
          </a:prstGeom>
          <a:noFill/>
          <a:ln>
            <a:solidFill>
              <a:srgbClr val="86BC25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3-2. Обстоятельствами, свидетельствующими об уменьшении налогового обязательства налогоплательщиком при совершении сделки (операции) с контрагентом, являются наличие одного или несколько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условий:</a:t>
            </a:r>
          </a:p>
          <a:p>
            <a:pPr algn="just"/>
            <a:endParaRPr lang="ru-RU" sz="1400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just"/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1) невозможность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реального осуществления операций с учетом времени, места нахождения имущества или объема материальных ресурсов, необходимых для производства и (или) поставки товаров, выполнения работ или оказания услуг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</a:p>
          <a:p>
            <a:pPr algn="just"/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2) отсутствие достаточных трудовых ресурсов, основных средств, производственных активов, складских помещений, транспортных средств и иных ресурсов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</a:p>
          <a:p>
            <a:pPr algn="just"/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3) совершение операций с товаром, который не производился (приобретался) или не мог быть произведен (приобретен) в объеме, указанном в документах бухгалтерского учета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</a:p>
          <a:p>
            <a:pPr algn="just"/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4) использование для целей налогообложения сделок (операций) по которым, отсутствует экономический смысл.</a:t>
            </a:r>
          </a:p>
        </p:txBody>
      </p:sp>
      <p:sp>
        <p:nvSpPr>
          <p:cNvPr id="39" name="Rounded Rectangle 38"/>
          <p:cNvSpPr/>
          <p:nvPr/>
        </p:nvSpPr>
        <p:spPr bwMode="gray">
          <a:xfrm>
            <a:off x="6639613" y="925060"/>
            <a:ext cx="5099950" cy="355997"/>
          </a:xfrm>
          <a:prstGeom prst="roundRect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Статья 36. Исполнение налогового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бязательства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87246" y="4665356"/>
            <a:ext cx="4839857" cy="1384995"/>
          </a:xfrm>
          <a:prstGeom prst="rect">
            <a:avLst/>
          </a:prstGeom>
          <a:ln>
            <a:solidFill>
              <a:srgbClr val="0076A8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…</a:t>
            </a:r>
          </a:p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5-1) расходы по сделке (операции) при наличии обстоятельств, указанных в пункте 3-2 статьи 36 настоящего Кодекса, совершенные без проявления должной налоговой осмотрительности в соответствии со статьей 73-1 настоящего Кодекса;</a:t>
            </a:r>
          </a:p>
        </p:txBody>
      </p:sp>
      <p:sp>
        <p:nvSpPr>
          <p:cNvPr id="41" name="Rounded Rectangle 40"/>
          <p:cNvSpPr/>
          <p:nvPr/>
        </p:nvSpPr>
        <p:spPr bwMode="gray">
          <a:xfrm>
            <a:off x="457200" y="4204657"/>
            <a:ext cx="5099950" cy="460699"/>
          </a:xfrm>
          <a:prstGeom prst="roundRect">
            <a:avLst/>
          </a:prstGeom>
          <a:solidFill>
            <a:srgbClr val="0070C0"/>
          </a:solidFill>
          <a:ln>
            <a:solidFill>
              <a:srgbClr val="0076A8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Статья 264. Затраты, не подлежащие вычету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Вычету не подлежат: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627793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671581" y="5747643"/>
            <a:ext cx="10681799" cy="323493"/>
          </a:xfrm>
          <a:prstGeom prst="roundRect">
            <a:avLst/>
          </a:prstGeom>
          <a:ln w="19050">
            <a:solidFill>
              <a:srgbClr val="0076A8"/>
            </a:solidFill>
            <a:prstDash val="sysDot"/>
          </a:ln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Налоговый учет, когда функциональная валюта финансовой отчетности не совпадает с национальной валютой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МСФО в системе налогообложения</a:t>
            </a:r>
            <a:r>
              <a:rPr lang="en-US" dirty="0" smtClean="0"/>
              <a:t>. </a:t>
            </a:r>
            <a:r>
              <a:rPr lang="ru-RU" dirty="0"/>
              <a:t>Правовой статус МСФО в Казахстане</a:t>
            </a:r>
          </a:p>
          <a:p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457197" y="1283414"/>
            <a:ext cx="5494338" cy="830997"/>
          </a:xfrm>
          <a:prstGeom prst="rect">
            <a:avLst/>
          </a:prstGeom>
          <a:noFill/>
          <a:ln w="19050">
            <a:solidFill>
              <a:srgbClr val="0076A8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Отсылочная норма Налогового кодекса</a:t>
            </a:r>
          </a:p>
          <a:p>
            <a:pPr algn="just"/>
            <a:r>
              <a:rPr lang="ru-RU" sz="1200" i="1" dirty="0">
                <a:solidFill>
                  <a:schemeClr val="bg1"/>
                </a:solidFill>
                <a:cs typeface="Times New Roman" panose="02020603050405020304" pitchFamily="18" charset="0"/>
              </a:rPr>
              <a:t>«…в соответствии с международными стандартами финансовой отчетности и </a:t>
            </a:r>
            <a:r>
              <a:rPr lang="ru-RU" sz="1200" b="1" i="1" dirty="0">
                <a:solidFill>
                  <a:srgbClr val="0076A8"/>
                </a:solidFill>
                <a:cs typeface="Times New Roman" panose="02020603050405020304" pitchFamily="18" charset="0"/>
              </a:rPr>
              <a:t>(или) </a:t>
            </a:r>
            <a:r>
              <a:rPr lang="ru-RU" sz="1200" i="1" dirty="0">
                <a:solidFill>
                  <a:schemeClr val="bg1"/>
                </a:solidFill>
                <a:cs typeface="Times New Roman" panose="02020603050405020304" pitchFamily="18" charset="0"/>
              </a:rPr>
              <a:t>требованиями законодательства Республики Казахстан о бухгалтерском учете и финансовой отчетности»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7200" y="2199792"/>
            <a:ext cx="5494338" cy="646331"/>
          </a:xfrm>
          <a:prstGeom prst="rect">
            <a:avLst/>
          </a:prstGeom>
          <a:ln w="19050">
            <a:solidFill>
              <a:srgbClr val="0076A8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chemeClr val="accent6"/>
                </a:solidFill>
                <a:cs typeface="Times New Roman" panose="02020603050405020304" pitchFamily="18" charset="0"/>
              </a:rPr>
              <a:t>МСФО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 – 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общие принципы ведения бухгалтерского учета и составления финансовой отчетности, изложенные в виде стандартов и интерпретаций, разрабатываемых СМСФО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253163" y="1289081"/>
            <a:ext cx="5413986" cy="1384995"/>
          </a:xfrm>
          <a:prstGeom prst="rect">
            <a:avLst/>
          </a:prstGeom>
          <a:ln w="19050">
            <a:solidFill>
              <a:srgbClr val="0076A8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Налоговая политика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 - совокупность мер по установлению новых и отмене действующих налогов и других обязательных платежей в бюджет, изменению ставок, объектов налогообложения и объектов, связанных с налогообложением, налоговой базы по налогам и другим обязательным платежам в </a:t>
            </a:r>
            <a:r>
              <a:rPr lang="ru-RU" sz="1200" b="1" dirty="0">
                <a:solidFill>
                  <a:srgbClr val="0076A8"/>
                </a:solidFill>
                <a:cs typeface="Times New Roman" panose="02020603050405020304" pitchFamily="18" charset="0"/>
              </a:rPr>
              <a:t>бюджет в целях обеспечения финансовых потребностей государства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на основе соблюдения баланса экономических интересов государства и налогоплательщиков (ст.10 НК РК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571927" y="3535299"/>
            <a:ext cx="4839857" cy="919401"/>
          </a:xfrm>
          <a:prstGeom prst="roundRect">
            <a:avLst/>
          </a:prstGeom>
          <a:ln w="19050">
            <a:solidFill>
              <a:srgbClr val="43B02A"/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они могут быть не приняты во внимание при производстве налоговых проверок или подвергнуты иной интерпретации со стороны налоговых органов («консервативный подход»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Они приведут к увеличению налоговых платежей </a:t>
            </a:r>
          </a:p>
        </p:txBody>
      </p:sp>
      <p:sp>
        <p:nvSpPr>
          <p:cNvPr id="22" name="Rounded Rectangle 21"/>
          <p:cNvSpPr/>
          <p:nvPr/>
        </p:nvSpPr>
        <p:spPr bwMode="gray">
          <a:xfrm>
            <a:off x="6441881" y="3128632"/>
            <a:ext cx="5099950" cy="460699"/>
          </a:xfrm>
          <a:prstGeom prst="roundRect">
            <a:avLst/>
          </a:prstGeom>
          <a:solidFill>
            <a:schemeClr val="accent2"/>
          </a:solidFill>
          <a:ln>
            <a:solidFill>
              <a:srgbClr val="43B02A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just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Ведение бухгалтерского и налогового учетов без применения суждения и оценок, основанных на МСФО, так как: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6585689" y="4773433"/>
            <a:ext cx="5081459" cy="715089"/>
          </a:xfrm>
          <a:prstGeom prst="roundRect">
            <a:avLst/>
          </a:prstGeom>
          <a:ln w="19050">
            <a:solidFill>
              <a:srgbClr val="C4D6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Между налогоплательщиками и налоговыми органами РК по вопросам интерпретации положений налогового законодательства, основанных на МСФО. Противоречивая судебная практика.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447575" y="2990060"/>
            <a:ext cx="5564906" cy="574417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447572" y="3666492"/>
            <a:ext cx="5564909" cy="675113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26" name="Rounded Rectangle 25"/>
          <p:cNvSpPr/>
          <p:nvPr/>
        </p:nvSpPr>
        <p:spPr bwMode="gray">
          <a:xfrm>
            <a:off x="447575" y="4443620"/>
            <a:ext cx="5564906" cy="894238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30" name="Freeform 489"/>
          <p:cNvSpPr>
            <a:spLocks noChangeAspect="1" noEditPoints="1"/>
          </p:cNvSpPr>
          <p:nvPr/>
        </p:nvSpPr>
        <p:spPr bwMode="auto">
          <a:xfrm>
            <a:off x="555472" y="5625732"/>
            <a:ext cx="525407" cy="525407"/>
          </a:xfrm>
          <a:custGeom>
            <a:avLst/>
            <a:gdLst>
              <a:gd name="T0" fmla="*/ 245 w 512"/>
              <a:gd name="T1" fmla="*/ 128 h 512"/>
              <a:gd name="T2" fmla="*/ 256 w 512"/>
              <a:gd name="T3" fmla="*/ 117 h 512"/>
              <a:gd name="T4" fmla="*/ 266 w 512"/>
              <a:gd name="T5" fmla="*/ 128 h 512"/>
              <a:gd name="T6" fmla="*/ 256 w 512"/>
              <a:gd name="T7" fmla="*/ 138 h 512"/>
              <a:gd name="T8" fmla="*/ 245 w 512"/>
              <a:gd name="T9" fmla="*/ 128 h 512"/>
              <a:gd name="T10" fmla="*/ 256 w 512"/>
              <a:gd name="T11" fmla="*/ 160 h 512"/>
              <a:gd name="T12" fmla="*/ 181 w 512"/>
              <a:gd name="T13" fmla="*/ 234 h 512"/>
              <a:gd name="T14" fmla="*/ 162 w 512"/>
              <a:gd name="T15" fmla="*/ 345 h 512"/>
              <a:gd name="T16" fmla="*/ 349 w 512"/>
              <a:gd name="T17" fmla="*/ 345 h 512"/>
              <a:gd name="T18" fmla="*/ 330 w 512"/>
              <a:gd name="T19" fmla="*/ 234 h 512"/>
              <a:gd name="T20" fmla="*/ 256 w 512"/>
              <a:gd name="T21" fmla="*/ 160 h 512"/>
              <a:gd name="T22" fmla="*/ 236 w 512"/>
              <a:gd name="T23" fmla="*/ 380 h 512"/>
              <a:gd name="T24" fmla="*/ 256 w 512"/>
              <a:gd name="T25" fmla="*/ 394 h 512"/>
              <a:gd name="T26" fmla="*/ 276 w 512"/>
              <a:gd name="T27" fmla="*/ 379 h 512"/>
              <a:gd name="T28" fmla="*/ 249 w 512"/>
              <a:gd name="T29" fmla="*/ 381 h 512"/>
              <a:gd name="T30" fmla="*/ 236 w 512"/>
              <a:gd name="T31" fmla="*/ 380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372 w 512"/>
              <a:gd name="T43" fmla="*/ 348 h 512"/>
              <a:gd name="T44" fmla="*/ 352 w 512"/>
              <a:gd name="T45" fmla="*/ 234 h 512"/>
              <a:gd name="T46" fmla="*/ 284 w 512"/>
              <a:gd name="T47" fmla="*/ 142 h 512"/>
              <a:gd name="T48" fmla="*/ 288 w 512"/>
              <a:gd name="T49" fmla="*/ 128 h 512"/>
              <a:gd name="T50" fmla="*/ 256 w 512"/>
              <a:gd name="T51" fmla="*/ 96 h 512"/>
              <a:gd name="T52" fmla="*/ 224 w 512"/>
              <a:gd name="T53" fmla="*/ 128 h 512"/>
              <a:gd name="T54" fmla="*/ 227 w 512"/>
              <a:gd name="T55" fmla="*/ 142 h 512"/>
              <a:gd name="T56" fmla="*/ 160 w 512"/>
              <a:gd name="T57" fmla="*/ 234 h 512"/>
              <a:gd name="T58" fmla="*/ 139 w 512"/>
              <a:gd name="T59" fmla="*/ 348 h 512"/>
              <a:gd name="T60" fmla="*/ 144 w 512"/>
              <a:gd name="T61" fmla="*/ 361 h 512"/>
              <a:gd name="T62" fmla="*/ 214 w 512"/>
              <a:gd name="T63" fmla="*/ 379 h 512"/>
              <a:gd name="T64" fmla="*/ 256 w 512"/>
              <a:gd name="T65" fmla="*/ 416 h 512"/>
              <a:gd name="T66" fmla="*/ 298 w 512"/>
              <a:gd name="T67" fmla="*/ 377 h 512"/>
              <a:gd name="T68" fmla="*/ 366 w 512"/>
              <a:gd name="T69" fmla="*/ 362 h 512"/>
              <a:gd name="T70" fmla="*/ 372 w 512"/>
              <a:gd name="T71" fmla="*/ 357 h 512"/>
              <a:gd name="T72" fmla="*/ 372 w 512"/>
              <a:gd name="T73" fmla="*/ 34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  <a:moveTo>
                  <a:pt x="256" y="160"/>
                </a:moveTo>
                <a:cubicBezTo>
                  <a:pt x="212" y="160"/>
                  <a:pt x="181" y="190"/>
                  <a:pt x="181" y="234"/>
                </a:cubicBezTo>
                <a:cubicBezTo>
                  <a:pt x="181" y="278"/>
                  <a:pt x="168" y="325"/>
                  <a:pt x="162" y="345"/>
                </a:cubicBezTo>
                <a:cubicBezTo>
                  <a:pt x="185" y="354"/>
                  <a:pt x="253" y="372"/>
                  <a:pt x="349" y="345"/>
                </a:cubicBezTo>
                <a:cubicBezTo>
                  <a:pt x="343" y="324"/>
                  <a:pt x="330" y="277"/>
                  <a:pt x="330" y="234"/>
                </a:cubicBezTo>
                <a:cubicBezTo>
                  <a:pt x="330" y="190"/>
                  <a:pt x="300" y="160"/>
                  <a:pt x="256" y="160"/>
                </a:cubicBezTo>
                <a:close/>
                <a:moveTo>
                  <a:pt x="236" y="380"/>
                </a:moveTo>
                <a:cubicBezTo>
                  <a:pt x="239" y="388"/>
                  <a:pt x="246" y="394"/>
                  <a:pt x="256" y="394"/>
                </a:cubicBezTo>
                <a:cubicBezTo>
                  <a:pt x="265" y="394"/>
                  <a:pt x="273" y="388"/>
                  <a:pt x="276" y="379"/>
                </a:cubicBezTo>
                <a:cubicBezTo>
                  <a:pt x="266" y="380"/>
                  <a:pt x="257" y="381"/>
                  <a:pt x="249" y="381"/>
                </a:cubicBezTo>
                <a:cubicBezTo>
                  <a:pt x="244" y="381"/>
                  <a:pt x="240" y="380"/>
                  <a:pt x="236" y="38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348"/>
                </a:moveTo>
                <a:cubicBezTo>
                  <a:pt x="372" y="348"/>
                  <a:pt x="352" y="286"/>
                  <a:pt x="352" y="234"/>
                </a:cubicBezTo>
                <a:cubicBezTo>
                  <a:pt x="352" y="189"/>
                  <a:pt x="324" y="153"/>
                  <a:pt x="284" y="142"/>
                </a:cubicBezTo>
                <a:cubicBezTo>
                  <a:pt x="286" y="138"/>
                  <a:pt x="288" y="133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33"/>
                  <a:pt x="225" y="138"/>
                  <a:pt x="227" y="142"/>
                </a:cubicBezTo>
                <a:cubicBezTo>
                  <a:pt x="187" y="153"/>
                  <a:pt x="160" y="189"/>
                  <a:pt x="160" y="234"/>
                </a:cubicBezTo>
                <a:cubicBezTo>
                  <a:pt x="160" y="286"/>
                  <a:pt x="139" y="348"/>
                  <a:pt x="139" y="348"/>
                </a:cubicBezTo>
                <a:cubicBezTo>
                  <a:pt x="137" y="353"/>
                  <a:pt x="139" y="359"/>
                  <a:pt x="144" y="361"/>
                </a:cubicBezTo>
                <a:cubicBezTo>
                  <a:pt x="146" y="362"/>
                  <a:pt x="171" y="374"/>
                  <a:pt x="214" y="379"/>
                </a:cubicBezTo>
                <a:cubicBezTo>
                  <a:pt x="216" y="399"/>
                  <a:pt x="234" y="416"/>
                  <a:pt x="256" y="416"/>
                </a:cubicBezTo>
                <a:cubicBezTo>
                  <a:pt x="278" y="416"/>
                  <a:pt x="296" y="399"/>
                  <a:pt x="298" y="377"/>
                </a:cubicBezTo>
                <a:cubicBezTo>
                  <a:pt x="319" y="374"/>
                  <a:pt x="341" y="369"/>
                  <a:pt x="366" y="362"/>
                </a:cubicBezTo>
                <a:cubicBezTo>
                  <a:pt x="368" y="361"/>
                  <a:pt x="371" y="359"/>
                  <a:pt x="372" y="357"/>
                </a:cubicBezTo>
                <a:cubicBezTo>
                  <a:pt x="373" y="354"/>
                  <a:pt x="373" y="351"/>
                  <a:pt x="372" y="348"/>
                </a:cubicBezTo>
                <a:close/>
              </a:path>
            </a:pathLst>
          </a:custGeom>
          <a:solidFill>
            <a:srgbClr val="0076A8"/>
          </a:solidFill>
          <a:ln>
            <a:solidFill>
              <a:srgbClr val="0076A8"/>
            </a:solidFill>
          </a:ln>
        </p:spPr>
        <p:txBody>
          <a:bodyPr vert="horz" wrap="square" lIns="68579" tIns="34290" rIns="68579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5" name="TextBox 14"/>
          <p:cNvSpPr txBox="1"/>
          <p:nvPr/>
        </p:nvSpPr>
        <p:spPr>
          <a:xfrm>
            <a:off x="555472" y="3091047"/>
            <a:ext cx="378626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Субъекты крупного предпринимательства и организации публичного интереса 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57509" y="3742423"/>
            <a:ext cx="356985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algn="just" defTabSz="1219155">
              <a:defRPr/>
            </a:pP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Субъекты среднего предпринимательства, а также государственные предприятия, на праве оперативного управления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5472" y="4517977"/>
            <a:ext cx="356985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algn="just" defTabSz="1219155">
              <a:defRPr/>
            </a:pP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Субъекты малого предпринимательства, а также юридические лица, исключительным видом деятельности которых является организация обменных операций с иностранной </a:t>
            </a:r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валютой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830228" y="3184935"/>
            <a:ext cx="508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МСФО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636267" y="3907727"/>
            <a:ext cx="85898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МСФО МСБ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46209" y="4686173"/>
            <a:ext cx="107603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Национальный стандарт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gray">
          <a:xfrm>
            <a:off x="4479056" y="2812739"/>
            <a:ext cx="1200898" cy="2601418"/>
          </a:xfrm>
          <a:prstGeom prst="roundRect">
            <a:avLst/>
          </a:prstGeom>
          <a:noFill/>
          <a:ln>
            <a:solidFill>
              <a:srgbClr val="C4D600"/>
            </a:solidFill>
            <a:prstDash val="sys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b="1" dirty="0" smtClean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253163" y="4520082"/>
            <a:ext cx="449630" cy="443556"/>
            <a:chOff x="7014206" y="4946683"/>
            <a:chExt cx="979713" cy="985798"/>
          </a:xfrm>
        </p:grpSpPr>
        <p:sp>
          <p:nvSpPr>
            <p:cNvPr id="37" name="Oval 8">
              <a:extLst>
                <a:ext uri="{FF2B5EF4-FFF2-40B4-BE49-F238E27FC236}">
                  <a16:creationId xmlns:a16="http://schemas.microsoft.com/office/drawing/2014/main" id="{FB48A620-DF13-4E39-8D79-5B7BF4BD7F4D}"/>
                </a:ext>
              </a:extLst>
            </p:cNvPr>
            <p:cNvSpPr/>
            <p:nvPr/>
          </p:nvSpPr>
          <p:spPr>
            <a:xfrm>
              <a:off x="7014206" y="4946683"/>
              <a:ext cx="979713" cy="98579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C4D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8" name="Group 861">
              <a:extLst>
                <a:ext uri="{FF2B5EF4-FFF2-40B4-BE49-F238E27FC236}">
                  <a16:creationId xmlns:a16="http://schemas.microsoft.com/office/drawing/2014/main" id="{3C8DB52A-BE3E-43DC-B166-6C7033E374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38302" y="5073822"/>
              <a:ext cx="731520" cy="731520"/>
              <a:chOff x="5813" y="3162"/>
              <a:chExt cx="340" cy="340"/>
            </a:xfrm>
            <a:solidFill>
              <a:schemeClr val="bg1"/>
            </a:solidFill>
          </p:grpSpPr>
          <p:sp>
            <p:nvSpPr>
              <p:cNvPr id="39" name="Freeform 862">
                <a:extLst>
                  <a:ext uri="{FF2B5EF4-FFF2-40B4-BE49-F238E27FC236}">
                    <a16:creationId xmlns:a16="http://schemas.microsoft.com/office/drawing/2014/main" id="{0F7A0D43-4DF0-4497-ABAD-870F32ABC6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3" y="316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6="http://schemas.microsoft.com/office/drawing/2014/main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863">
                <a:extLst>
                  <a:ext uri="{FF2B5EF4-FFF2-40B4-BE49-F238E27FC236}">
                    <a16:creationId xmlns:a16="http://schemas.microsoft.com/office/drawing/2014/main" id="{FA8F13ED-9F2D-4766-8623-1608155E21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5" y="3216"/>
                <a:ext cx="156" cy="208"/>
              </a:xfrm>
              <a:custGeom>
                <a:avLst/>
                <a:gdLst>
                  <a:gd name="T0" fmla="*/ 11 w 235"/>
                  <a:gd name="T1" fmla="*/ 313 h 313"/>
                  <a:gd name="T2" fmla="*/ 0 w 235"/>
                  <a:gd name="T3" fmla="*/ 303 h 313"/>
                  <a:gd name="T4" fmla="*/ 0 w 235"/>
                  <a:gd name="T5" fmla="*/ 47 h 313"/>
                  <a:gd name="T6" fmla="*/ 5 w 235"/>
                  <a:gd name="T7" fmla="*/ 38 h 313"/>
                  <a:gd name="T8" fmla="*/ 125 w 235"/>
                  <a:gd name="T9" fmla="*/ 39 h 313"/>
                  <a:gd name="T10" fmla="*/ 218 w 235"/>
                  <a:gd name="T11" fmla="*/ 38 h 313"/>
                  <a:gd name="T12" fmla="*/ 229 w 235"/>
                  <a:gd name="T13" fmla="*/ 37 h 313"/>
                  <a:gd name="T14" fmla="*/ 235 w 235"/>
                  <a:gd name="T15" fmla="*/ 47 h 313"/>
                  <a:gd name="T16" fmla="*/ 235 w 235"/>
                  <a:gd name="T17" fmla="*/ 185 h 313"/>
                  <a:gd name="T18" fmla="*/ 230 w 235"/>
                  <a:gd name="T19" fmla="*/ 194 h 313"/>
                  <a:gd name="T20" fmla="*/ 110 w 235"/>
                  <a:gd name="T21" fmla="*/ 193 h 313"/>
                  <a:gd name="T22" fmla="*/ 22 w 235"/>
                  <a:gd name="T23" fmla="*/ 191 h 313"/>
                  <a:gd name="T24" fmla="*/ 22 w 235"/>
                  <a:gd name="T25" fmla="*/ 303 h 313"/>
                  <a:gd name="T26" fmla="*/ 11 w 235"/>
                  <a:gd name="T27" fmla="*/ 313 h 313"/>
                  <a:gd name="T28" fmla="*/ 70 w 235"/>
                  <a:gd name="T29" fmla="*/ 155 h 313"/>
                  <a:gd name="T30" fmla="*/ 125 w 235"/>
                  <a:gd name="T31" fmla="*/ 178 h 313"/>
                  <a:gd name="T32" fmla="*/ 214 w 235"/>
                  <a:gd name="T33" fmla="*/ 179 h 313"/>
                  <a:gd name="T34" fmla="*/ 214 w 235"/>
                  <a:gd name="T35" fmla="*/ 65 h 313"/>
                  <a:gd name="T36" fmla="*/ 110 w 235"/>
                  <a:gd name="T37" fmla="*/ 54 h 313"/>
                  <a:gd name="T38" fmla="*/ 22 w 235"/>
                  <a:gd name="T39" fmla="*/ 53 h 313"/>
                  <a:gd name="T40" fmla="*/ 22 w 235"/>
                  <a:gd name="T41" fmla="*/ 167 h 313"/>
                  <a:gd name="T42" fmla="*/ 70 w 235"/>
                  <a:gd name="T43" fmla="*/ 155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5" h="313">
                    <a:moveTo>
                      <a:pt x="11" y="313"/>
                    </a:moveTo>
                    <a:cubicBezTo>
                      <a:pt x="5" y="313"/>
                      <a:pt x="0" y="309"/>
                      <a:pt x="0" y="303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3"/>
                      <a:pt x="2" y="40"/>
                      <a:pt x="5" y="38"/>
                    </a:cubicBezTo>
                    <a:cubicBezTo>
                      <a:pt x="29" y="21"/>
                      <a:pt x="86" y="0"/>
                      <a:pt x="125" y="39"/>
                    </a:cubicBezTo>
                    <a:cubicBezTo>
                      <a:pt x="161" y="75"/>
                      <a:pt x="218" y="38"/>
                      <a:pt x="218" y="38"/>
                    </a:cubicBezTo>
                    <a:cubicBezTo>
                      <a:pt x="222" y="36"/>
                      <a:pt x="226" y="35"/>
                      <a:pt x="229" y="37"/>
                    </a:cubicBezTo>
                    <a:cubicBezTo>
                      <a:pt x="233" y="39"/>
                      <a:pt x="235" y="43"/>
                      <a:pt x="235" y="47"/>
                    </a:cubicBezTo>
                    <a:cubicBezTo>
                      <a:pt x="235" y="185"/>
                      <a:pt x="235" y="185"/>
                      <a:pt x="235" y="185"/>
                    </a:cubicBezTo>
                    <a:cubicBezTo>
                      <a:pt x="235" y="189"/>
                      <a:pt x="233" y="192"/>
                      <a:pt x="230" y="194"/>
                    </a:cubicBezTo>
                    <a:cubicBezTo>
                      <a:pt x="205" y="211"/>
                      <a:pt x="148" y="231"/>
                      <a:pt x="110" y="193"/>
                    </a:cubicBezTo>
                    <a:cubicBezTo>
                      <a:pt x="79" y="162"/>
                      <a:pt x="36" y="183"/>
                      <a:pt x="22" y="191"/>
                    </a:cubicBezTo>
                    <a:cubicBezTo>
                      <a:pt x="22" y="303"/>
                      <a:pt x="22" y="303"/>
                      <a:pt x="22" y="303"/>
                    </a:cubicBezTo>
                    <a:cubicBezTo>
                      <a:pt x="22" y="309"/>
                      <a:pt x="17" y="313"/>
                      <a:pt x="11" y="313"/>
                    </a:cubicBezTo>
                    <a:close/>
                    <a:moveTo>
                      <a:pt x="70" y="155"/>
                    </a:moveTo>
                    <a:cubicBezTo>
                      <a:pt x="89" y="155"/>
                      <a:pt x="109" y="161"/>
                      <a:pt x="125" y="178"/>
                    </a:cubicBezTo>
                    <a:cubicBezTo>
                      <a:pt x="155" y="207"/>
                      <a:pt x="199" y="187"/>
                      <a:pt x="214" y="179"/>
                    </a:cubicBezTo>
                    <a:cubicBezTo>
                      <a:pt x="214" y="65"/>
                      <a:pt x="214" y="65"/>
                      <a:pt x="214" y="65"/>
                    </a:cubicBezTo>
                    <a:cubicBezTo>
                      <a:pt x="185" y="78"/>
                      <a:pt x="142" y="86"/>
                      <a:pt x="110" y="54"/>
                    </a:cubicBezTo>
                    <a:cubicBezTo>
                      <a:pt x="80" y="24"/>
                      <a:pt x="36" y="45"/>
                      <a:pt x="22" y="53"/>
                    </a:cubicBezTo>
                    <a:cubicBezTo>
                      <a:pt x="22" y="167"/>
                      <a:pt x="22" y="167"/>
                      <a:pt x="22" y="167"/>
                    </a:cubicBezTo>
                    <a:cubicBezTo>
                      <a:pt x="35" y="161"/>
                      <a:pt x="53" y="155"/>
                      <a:pt x="70" y="15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6="http://schemas.microsoft.com/office/drawing/2014/main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27" name="Rounded Rectangle 26"/>
          <p:cNvSpPr/>
          <p:nvPr/>
        </p:nvSpPr>
        <p:spPr bwMode="gray">
          <a:xfrm>
            <a:off x="6441881" y="2809899"/>
            <a:ext cx="5099950" cy="211070"/>
          </a:xfrm>
          <a:prstGeom prst="roundRect">
            <a:avLst/>
          </a:prstGeom>
          <a:noFill/>
          <a:ln w="19050">
            <a:solidFill>
              <a:srgbClr val="43B02A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онфликты</a:t>
            </a:r>
            <a:endParaRPr lang="ru-RU" sz="12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2889476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46">
            <a:extLst>
              <a:ext uri="{FF2B5EF4-FFF2-40B4-BE49-F238E27FC236}">
                <a16:creationId xmlns:a16="http://schemas.microsoft.com/office/drawing/2014/main" id="{07D8A654-139D-46DA-A1A0-D5BEB51D7EA0}"/>
              </a:ext>
            </a:extLst>
          </p:cNvPr>
          <p:cNvSpPr/>
          <p:nvPr/>
        </p:nvSpPr>
        <p:spPr bwMode="gray">
          <a:xfrm>
            <a:off x="477440" y="3988750"/>
            <a:ext cx="5099950" cy="2465900"/>
          </a:xfrm>
          <a:prstGeom prst="rect">
            <a:avLst/>
          </a:prstGeom>
          <a:solidFill>
            <a:srgbClr val="86BC25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="horz" wrap="square" lIns="80648" tIns="80648" rIns="80648" bIns="8064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Горизонтальный </a:t>
            </a:r>
            <a:r>
              <a:rPr lang="ru-RU" dirty="0" smtClean="0"/>
              <a:t>мониторинг</a:t>
            </a:r>
            <a:endParaRPr lang="ru-RU" dirty="0"/>
          </a:p>
        </p:txBody>
      </p:sp>
      <p:sp>
        <p:nvSpPr>
          <p:cNvPr id="97" name="Rounded Rectangle 96"/>
          <p:cNvSpPr/>
          <p:nvPr/>
        </p:nvSpPr>
        <p:spPr>
          <a:xfrm>
            <a:off x="587246" y="1534585"/>
            <a:ext cx="4839857" cy="2315528"/>
          </a:xfrm>
          <a:prstGeom prst="roundRect">
            <a:avLst/>
          </a:prstGeom>
          <a:noFill/>
          <a:ln w="28575">
            <a:solidFill>
              <a:srgbClr val="86BC25"/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Кодекс Республики Казахстан О налогах и других обязательных платежах в бюджет от 25 декабря 2017 года, №120-</a:t>
            </a:r>
            <a:r>
              <a:rPr lang="en-US" sz="1300" dirty="0">
                <a:solidFill>
                  <a:schemeClr val="bg1"/>
                </a:solidFill>
                <a:cs typeface="Times New Roman" panose="02020603050405020304" pitchFamily="18" charset="0"/>
              </a:rPr>
              <a:t>VI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 ЗРК (далее – Налоговый кодекс)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риказ Министра финансов Республики Казахстан от 7 декабря 2018 года № 1060 О некоторых вопросах горизонтального мониторинга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равила проведения пилотного проекта по горизонтальному мониторингу, </a:t>
            </a:r>
            <a:r>
              <a:rPr lang="ru-RU" sz="1300" b="1" dirty="0">
                <a:solidFill>
                  <a:srgbClr val="8DC63F"/>
                </a:solidFill>
                <a:cs typeface="Times New Roman" panose="02020603050405020304" pitchFamily="18" charset="0"/>
              </a:rPr>
              <a:t>утвержденные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 Приказом </a:t>
            </a:r>
            <a:r>
              <a:rPr lang="ru-RU" sz="13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и.о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. Министра финансов Республики Казахстан от 1 июля 2020 года № 648 (далее – Правила).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98" name="Rounded Rectangle 97"/>
          <p:cNvSpPr/>
          <p:nvPr/>
        </p:nvSpPr>
        <p:spPr bwMode="gray">
          <a:xfrm>
            <a:off x="457200" y="1265381"/>
            <a:ext cx="5099950" cy="355997"/>
          </a:xfrm>
          <a:prstGeom prst="roundRect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ормативно-правовая база:</a:t>
            </a:r>
            <a:endParaRPr lang="ru-RU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342409" y="4540335"/>
            <a:ext cx="4084694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илотный проект реализуется с целью совершенствования и модернизации порядка проведения ГМ, установления требований к системе внутреннего контроля и информационным системам налогоплательщика для взаимодействия, а также внесения изменений и дополнений в действующее законодательство.</a:t>
            </a:r>
          </a:p>
        </p:txBody>
      </p:sp>
      <p:grpSp>
        <p:nvGrpSpPr>
          <p:cNvPr id="100" name="Group 777"/>
          <p:cNvGrpSpPr>
            <a:grpSpLocks noChangeAspect="1"/>
          </p:cNvGrpSpPr>
          <p:nvPr/>
        </p:nvGrpSpPr>
        <p:grpSpPr bwMode="auto">
          <a:xfrm>
            <a:off x="696935" y="4953592"/>
            <a:ext cx="592497" cy="590760"/>
            <a:chOff x="5818" y="3070"/>
            <a:chExt cx="341" cy="340"/>
          </a:xfrm>
          <a:solidFill>
            <a:srgbClr val="86BC25"/>
          </a:solidFill>
        </p:grpSpPr>
        <p:sp>
          <p:nvSpPr>
            <p:cNvPr id="101" name="Freeform 778"/>
            <p:cNvSpPr>
              <a:spLocks noEditPoints="1"/>
            </p:cNvSpPr>
            <p:nvPr/>
          </p:nvSpPr>
          <p:spPr bwMode="auto">
            <a:xfrm>
              <a:off x="5882" y="3140"/>
              <a:ext cx="213" cy="185"/>
            </a:xfrm>
            <a:custGeom>
              <a:avLst/>
              <a:gdLst>
                <a:gd name="T0" fmla="*/ 309 w 320"/>
                <a:gd name="T1" fmla="*/ 43 h 278"/>
                <a:gd name="T2" fmla="*/ 213 w 320"/>
                <a:gd name="T3" fmla="*/ 43 h 278"/>
                <a:gd name="T4" fmla="*/ 213 w 320"/>
                <a:gd name="T5" fmla="*/ 11 h 278"/>
                <a:gd name="T6" fmla="*/ 202 w 320"/>
                <a:gd name="T7" fmla="*/ 0 h 278"/>
                <a:gd name="T8" fmla="*/ 117 w 320"/>
                <a:gd name="T9" fmla="*/ 0 h 278"/>
                <a:gd name="T10" fmla="*/ 106 w 320"/>
                <a:gd name="T11" fmla="*/ 11 h 278"/>
                <a:gd name="T12" fmla="*/ 106 w 320"/>
                <a:gd name="T13" fmla="*/ 43 h 278"/>
                <a:gd name="T14" fmla="*/ 10 w 320"/>
                <a:gd name="T15" fmla="*/ 43 h 278"/>
                <a:gd name="T16" fmla="*/ 0 w 320"/>
                <a:gd name="T17" fmla="*/ 54 h 278"/>
                <a:gd name="T18" fmla="*/ 0 w 320"/>
                <a:gd name="T19" fmla="*/ 160 h 278"/>
                <a:gd name="T20" fmla="*/ 10 w 320"/>
                <a:gd name="T21" fmla="*/ 171 h 278"/>
                <a:gd name="T22" fmla="*/ 21 w 320"/>
                <a:gd name="T23" fmla="*/ 171 h 278"/>
                <a:gd name="T24" fmla="*/ 21 w 320"/>
                <a:gd name="T25" fmla="*/ 267 h 278"/>
                <a:gd name="T26" fmla="*/ 32 w 320"/>
                <a:gd name="T27" fmla="*/ 278 h 278"/>
                <a:gd name="T28" fmla="*/ 288 w 320"/>
                <a:gd name="T29" fmla="*/ 278 h 278"/>
                <a:gd name="T30" fmla="*/ 298 w 320"/>
                <a:gd name="T31" fmla="*/ 267 h 278"/>
                <a:gd name="T32" fmla="*/ 298 w 320"/>
                <a:gd name="T33" fmla="*/ 171 h 278"/>
                <a:gd name="T34" fmla="*/ 309 w 320"/>
                <a:gd name="T35" fmla="*/ 171 h 278"/>
                <a:gd name="T36" fmla="*/ 320 w 320"/>
                <a:gd name="T37" fmla="*/ 160 h 278"/>
                <a:gd name="T38" fmla="*/ 320 w 320"/>
                <a:gd name="T39" fmla="*/ 54 h 278"/>
                <a:gd name="T40" fmla="*/ 309 w 320"/>
                <a:gd name="T41" fmla="*/ 43 h 278"/>
                <a:gd name="T42" fmla="*/ 128 w 320"/>
                <a:gd name="T43" fmla="*/ 22 h 278"/>
                <a:gd name="T44" fmla="*/ 192 w 320"/>
                <a:gd name="T45" fmla="*/ 22 h 278"/>
                <a:gd name="T46" fmla="*/ 192 w 320"/>
                <a:gd name="T47" fmla="*/ 43 h 278"/>
                <a:gd name="T48" fmla="*/ 128 w 320"/>
                <a:gd name="T49" fmla="*/ 43 h 278"/>
                <a:gd name="T50" fmla="*/ 128 w 320"/>
                <a:gd name="T51" fmla="*/ 22 h 278"/>
                <a:gd name="T52" fmla="*/ 277 w 320"/>
                <a:gd name="T53" fmla="*/ 256 h 278"/>
                <a:gd name="T54" fmla="*/ 42 w 320"/>
                <a:gd name="T55" fmla="*/ 256 h 278"/>
                <a:gd name="T56" fmla="*/ 42 w 320"/>
                <a:gd name="T57" fmla="*/ 171 h 278"/>
                <a:gd name="T58" fmla="*/ 85 w 320"/>
                <a:gd name="T59" fmla="*/ 171 h 278"/>
                <a:gd name="T60" fmla="*/ 85 w 320"/>
                <a:gd name="T61" fmla="*/ 182 h 278"/>
                <a:gd name="T62" fmla="*/ 96 w 320"/>
                <a:gd name="T63" fmla="*/ 192 h 278"/>
                <a:gd name="T64" fmla="*/ 106 w 320"/>
                <a:gd name="T65" fmla="*/ 182 h 278"/>
                <a:gd name="T66" fmla="*/ 106 w 320"/>
                <a:gd name="T67" fmla="*/ 171 h 278"/>
                <a:gd name="T68" fmla="*/ 213 w 320"/>
                <a:gd name="T69" fmla="*/ 171 h 278"/>
                <a:gd name="T70" fmla="*/ 213 w 320"/>
                <a:gd name="T71" fmla="*/ 182 h 278"/>
                <a:gd name="T72" fmla="*/ 224 w 320"/>
                <a:gd name="T73" fmla="*/ 192 h 278"/>
                <a:gd name="T74" fmla="*/ 234 w 320"/>
                <a:gd name="T75" fmla="*/ 182 h 278"/>
                <a:gd name="T76" fmla="*/ 234 w 320"/>
                <a:gd name="T77" fmla="*/ 171 h 278"/>
                <a:gd name="T78" fmla="*/ 277 w 320"/>
                <a:gd name="T79" fmla="*/ 171 h 278"/>
                <a:gd name="T80" fmla="*/ 277 w 320"/>
                <a:gd name="T81" fmla="*/ 256 h 278"/>
                <a:gd name="T82" fmla="*/ 298 w 320"/>
                <a:gd name="T83" fmla="*/ 150 h 278"/>
                <a:gd name="T84" fmla="*/ 234 w 320"/>
                <a:gd name="T85" fmla="*/ 150 h 278"/>
                <a:gd name="T86" fmla="*/ 234 w 320"/>
                <a:gd name="T87" fmla="*/ 139 h 278"/>
                <a:gd name="T88" fmla="*/ 224 w 320"/>
                <a:gd name="T89" fmla="*/ 128 h 278"/>
                <a:gd name="T90" fmla="*/ 213 w 320"/>
                <a:gd name="T91" fmla="*/ 139 h 278"/>
                <a:gd name="T92" fmla="*/ 213 w 320"/>
                <a:gd name="T93" fmla="*/ 150 h 278"/>
                <a:gd name="T94" fmla="*/ 106 w 320"/>
                <a:gd name="T95" fmla="*/ 150 h 278"/>
                <a:gd name="T96" fmla="*/ 106 w 320"/>
                <a:gd name="T97" fmla="*/ 139 h 278"/>
                <a:gd name="T98" fmla="*/ 96 w 320"/>
                <a:gd name="T99" fmla="*/ 128 h 278"/>
                <a:gd name="T100" fmla="*/ 85 w 320"/>
                <a:gd name="T101" fmla="*/ 139 h 278"/>
                <a:gd name="T102" fmla="*/ 85 w 320"/>
                <a:gd name="T103" fmla="*/ 150 h 278"/>
                <a:gd name="T104" fmla="*/ 21 w 320"/>
                <a:gd name="T105" fmla="*/ 150 h 278"/>
                <a:gd name="T106" fmla="*/ 21 w 320"/>
                <a:gd name="T107" fmla="*/ 64 h 278"/>
                <a:gd name="T108" fmla="*/ 298 w 320"/>
                <a:gd name="T109" fmla="*/ 64 h 278"/>
                <a:gd name="T110" fmla="*/ 298 w 320"/>
                <a:gd name="T111" fmla="*/ 15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78">
                  <a:moveTo>
                    <a:pt x="309" y="43"/>
                  </a:moveTo>
                  <a:cubicBezTo>
                    <a:pt x="213" y="43"/>
                    <a:pt x="213" y="43"/>
                    <a:pt x="213" y="43"/>
                  </a:cubicBezTo>
                  <a:cubicBezTo>
                    <a:pt x="213" y="11"/>
                    <a:pt x="213" y="11"/>
                    <a:pt x="213" y="11"/>
                  </a:cubicBezTo>
                  <a:cubicBezTo>
                    <a:pt x="213" y="5"/>
                    <a:pt x="208" y="0"/>
                    <a:pt x="202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1" y="0"/>
                    <a:pt x="106" y="5"/>
                    <a:pt x="106" y="1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4" y="43"/>
                    <a:pt x="0" y="48"/>
                    <a:pt x="0" y="5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21" y="273"/>
                    <a:pt x="26" y="278"/>
                    <a:pt x="32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94" y="278"/>
                    <a:pt x="298" y="273"/>
                    <a:pt x="298" y="267"/>
                  </a:cubicBezTo>
                  <a:cubicBezTo>
                    <a:pt x="298" y="171"/>
                    <a:pt x="298" y="171"/>
                    <a:pt x="298" y="171"/>
                  </a:cubicBezTo>
                  <a:cubicBezTo>
                    <a:pt x="309" y="171"/>
                    <a:pt x="309" y="171"/>
                    <a:pt x="309" y="171"/>
                  </a:cubicBezTo>
                  <a:cubicBezTo>
                    <a:pt x="315" y="171"/>
                    <a:pt x="320" y="166"/>
                    <a:pt x="320" y="160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128" y="22"/>
                  </a:moveTo>
                  <a:cubicBezTo>
                    <a:pt x="192" y="22"/>
                    <a:pt x="192" y="22"/>
                    <a:pt x="192" y="22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28" y="43"/>
                    <a:pt x="128" y="43"/>
                    <a:pt x="128" y="43"/>
                  </a:cubicBezTo>
                  <a:lnTo>
                    <a:pt x="128" y="22"/>
                  </a:lnTo>
                  <a:close/>
                  <a:moveTo>
                    <a:pt x="277" y="256"/>
                  </a:moveTo>
                  <a:cubicBezTo>
                    <a:pt x="42" y="256"/>
                    <a:pt x="42" y="256"/>
                    <a:pt x="42" y="256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85" y="171"/>
                    <a:pt x="85" y="171"/>
                    <a:pt x="85" y="171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8"/>
                    <a:pt x="90" y="192"/>
                    <a:pt x="96" y="192"/>
                  </a:cubicBezTo>
                  <a:cubicBezTo>
                    <a:pt x="102" y="192"/>
                    <a:pt x="106" y="188"/>
                    <a:pt x="106" y="182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213" y="171"/>
                    <a:pt x="213" y="171"/>
                    <a:pt x="213" y="171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3" y="188"/>
                    <a:pt x="218" y="192"/>
                    <a:pt x="224" y="192"/>
                  </a:cubicBezTo>
                  <a:cubicBezTo>
                    <a:pt x="230" y="192"/>
                    <a:pt x="234" y="188"/>
                    <a:pt x="234" y="182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77" y="171"/>
                    <a:pt x="277" y="171"/>
                    <a:pt x="277" y="171"/>
                  </a:cubicBezTo>
                  <a:lnTo>
                    <a:pt x="277" y="256"/>
                  </a:lnTo>
                  <a:close/>
                  <a:moveTo>
                    <a:pt x="298" y="150"/>
                  </a:moveTo>
                  <a:cubicBezTo>
                    <a:pt x="234" y="150"/>
                    <a:pt x="234" y="150"/>
                    <a:pt x="234" y="150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4" y="133"/>
                    <a:pt x="230" y="128"/>
                    <a:pt x="224" y="128"/>
                  </a:cubicBezTo>
                  <a:cubicBezTo>
                    <a:pt x="218" y="128"/>
                    <a:pt x="213" y="133"/>
                    <a:pt x="213" y="139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6" y="133"/>
                    <a:pt x="102" y="128"/>
                    <a:pt x="96" y="128"/>
                  </a:cubicBezTo>
                  <a:cubicBezTo>
                    <a:pt x="90" y="128"/>
                    <a:pt x="85" y="133"/>
                    <a:pt x="85" y="139"/>
                  </a:cubicBezTo>
                  <a:cubicBezTo>
                    <a:pt x="85" y="150"/>
                    <a:pt x="85" y="150"/>
                    <a:pt x="85" y="150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00"/>
            </a:p>
          </p:txBody>
        </p:sp>
        <p:sp>
          <p:nvSpPr>
            <p:cNvPr id="102" name="Freeform 779"/>
            <p:cNvSpPr>
              <a:spLocks noEditPoints="1"/>
            </p:cNvSpPr>
            <p:nvPr/>
          </p:nvSpPr>
          <p:spPr bwMode="auto">
            <a:xfrm>
              <a:off x="5818" y="3070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00"/>
            </a:p>
          </p:txBody>
        </p:sp>
      </p:grpSp>
      <p:sp>
        <p:nvSpPr>
          <p:cNvPr id="103" name="Rectangle 54">
            <a:extLst>
              <a:ext uri="{FF2B5EF4-FFF2-40B4-BE49-F238E27FC236}">
                <a16:creationId xmlns:a16="http://schemas.microsoft.com/office/drawing/2014/main" id="{0939D3D4-9FC6-4F7A-BF0C-428BD6B08B22}"/>
              </a:ext>
            </a:extLst>
          </p:cNvPr>
          <p:cNvSpPr/>
          <p:nvPr/>
        </p:nvSpPr>
        <p:spPr bwMode="gray">
          <a:xfrm>
            <a:off x="1494418" y="4218441"/>
            <a:ext cx="1375116" cy="20304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rot="0" spcFirstLastPara="0" vert="horz" wrap="square" lIns="0" tIns="80648" rIns="80648" bIns="8064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ru-RU" sz="1300" b="1" dirty="0" smtClean="0">
                <a:solidFill>
                  <a:srgbClr val="86BC25"/>
                </a:solidFill>
                <a:cs typeface="Calibri Light" panose="020F0302020204030204" pitchFamily="34" charset="0"/>
              </a:rPr>
              <a:t>Цель</a:t>
            </a:r>
            <a:endParaRPr lang="en-US" sz="1300" b="1" dirty="0">
              <a:solidFill>
                <a:srgbClr val="86BC25"/>
              </a:solidFill>
              <a:cs typeface="Calibri Light" panose="020F0302020204030204" pitchFamily="34" charset="0"/>
            </a:endParaRPr>
          </a:p>
        </p:txBody>
      </p:sp>
      <p:sp>
        <p:nvSpPr>
          <p:cNvPr id="104" name="Oval 103"/>
          <p:cNvSpPr/>
          <p:nvPr/>
        </p:nvSpPr>
        <p:spPr bwMode="gray">
          <a:xfrm>
            <a:off x="6086972" y="2102221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86BC25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6130490" y="2147690"/>
            <a:ext cx="631785" cy="627883"/>
            <a:chOff x="729088" y="2179916"/>
            <a:chExt cx="3674434" cy="3674434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86BC25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86BC25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09" name="Oval 108"/>
          <p:cNvSpPr/>
          <p:nvPr/>
        </p:nvSpPr>
        <p:spPr bwMode="gray">
          <a:xfrm>
            <a:off x="6258968" y="2274217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10" name="Oval 109"/>
          <p:cNvSpPr/>
          <p:nvPr/>
        </p:nvSpPr>
        <p:spPr bwMode="gray">
          <a:xfrm>
            <a:off x="6086972" y="3858604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0076A8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6130490" y="3904073"/>
            <a:ext cx="631785" cy="627883"/>
            <a:chOff x="729088" y="2179916"/>
            <a:chExt cx="3674434" cy="3674434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0076A8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0076A8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15" name="Oval 114"/>
          <p:cNvSpPr/>
          <p:nvPr/>
        </p:nvSpPr>
        <p:spPr bwMode="gray">
          <a:xfrm>
            <a:off x="6258968" y="4030600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16" name="Oval 115"/>
          <p:cNvSpPr/>
          <p:nvPr/>
        </p:nvSpPr>
        <p:spPr bwMode="gray">
          <a:xfrm>
            <a:off x="6087915" y="1227681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43B02A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6131433" y="1273150"/>
            <a:ext cx="631785" cy="627883"/>
            <a:chOff x="729088" y="2179916"/>
            <a:chExt cx="3674434" cy="3674434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43B02A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43B02A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21" name="Oval 120"/>
          <p:cNvSpPr/>
          <p:nvPr/>
        </p:nvSpPr>
        <p:spPr bwMode="gray">
          <a:xfrm>
            <a:off x="6259911" y="1399677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22" name="Oval 121"/>
          <p:cNvSpPr/>
          <p:nvPr/>
        </p:nvSpPr>
        <p:spPr bwMode="gray">
          <a:xfrm>
            <a:off x="6211511" y="1351277"/>
            <a:ext cx="471628" cy="471628"/>
          </a:xfrm>
          <a:prstGeom prst="ellipse">
            <a:avLst/>
          </a:prstGeom>
          <a:solidFill>
            <a:srgbClr val="43B02A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rgbClr val="FFFFFF"/>
                </a:solidFill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23" name="Oval 122"/>
          <p:cNvSpPr/>
          <p:nvPr/>
        </p:nvSpPr>
        <p:spPr bwMode="gray">
          <a:xfrm>
            <a:off x="6210568" y="2225817"/>
            <a:ext cx="471628" cy="471628"/>
          </a:xfrm>
          <a:prstGeom prst="ellipse">
            <a:avLst/>
          </a:prstGeom>
          <a:solidFill>
            <a:srgbClr val="86BC25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rgbClr val="FFFFFF"/>
                </a:solidFill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4" name="Oval 123"/>
          <p:cNvSpPr/>
          <p:nvPr/>
        </p:nvSpPr>
        <p:spPr bwMode="gray">
          <a:xfrm>
            <a:off x="6210568" y="3982200"/>
            <a:ext cx="471628" cy="471628"/>
          </a:xfrm>
          <a:prstGeom prst="ellipse">
            <a:avLst/>
          </a:prstGeom>
          <a:solidFill>
            <a:srgbClr val="0076A8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rgbClr val="FFFFFF"/>
                </a:solidFill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25" name="Rounded Rectangle 124"/>
          <p:cNvSpPr/>
          <p:nvPr/>
        </p:nvSpPr>
        <p:spPr bwMode="gray">
          <a:xfrm>
            <a:off x="6076803" y="758810"/>
            <a:ext cx="5662759" cy="346881"/>
          </a:xfrm>
          <a:prstGeom prst="roundRect">
            <a:avLst/>
          </a:prstGeom>
          <a:solidFill>
            <a:srgbClr val="0076A8"/>
          </a:solidFill>
          <a:ln w="38100">
            <a:solidFill>
              <a:schemeClr val="bg1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Принципы:</a:t>
            </a:r>
            <a:endParaRPr lang="ru-RU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054291" y="1264626"/>
            <a:ext cx="4686604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/>
            <a:r>
              <a:rPr lang="ru-RU" sz="1300" b="1" dirty="0" smtClean="0">
                <a:solidFill>
                  <a:srgbClr val="43B02A"/>
                </a:solidFill>
                <a:cs typeface="Times New Roman" panose="02020603050405020304" pitchFamily="18" charset="0"/>
              </a:rPr>
              <a:t>сотрудничество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признание равенства органа государственных доходов и участника Пилотного проекта, свободы соглашения и совместное правомерное регулирование налоговых рисков по принципу «одного окна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»</a:t>
            </a:r>
            <a:endParaRPr lang="en-US" sz="1300" dirty="0" err="1">
              <a:solidFill>
                <a:schemeClr val="bg1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7054290" y="2298872"/>
            <a:ext cx="4686605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300" b="1" dirty="0">
                <a:solidFill>
                  <a:srgbClr val="86BC25"/>
                </a:solidFill>
                <a:cs typeface="Times New Roman" panose="02020603050405020304" pitchFamily="18" charset="0"/>
              </a:rPr>
              <a:t>обоснованное доверие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стремление к ведению успешной совместной работы, взаимодействия для выработки конструктивных решений</a:t>
            </a:r>
          </a:p>
        </p:txBody>
      </p:sp>
      <p:sp>
        <p:nvSpPr>
          <p:cNvPr id="128" name="Oval 127"/>
          <p:cNvSpPr/>
          <p:nvPr/>
        </p:nvSpPr>
        <p:spPr bwMode="gray">
          <a:xfrm>
            <a:off x="6087915" y="2974798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00ABAB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6130490" y="3017480"/>
            <a:ext cx="631785" cy="627883"/>
            <a:chOff x="729088" y="2179916"/>
            <a:chExt cx="3674434" cy="3674434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00ABAB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00ABAB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33" name="Oval 132"/>
          <p:cNvSpPr/>
          <p:nvPr/>
        </p:nvSpPr>
        <p:spPr bwMode="gray">
          <a:xfrm>
            <a:off x="6258968" y="3144007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34" name="Oval 133"/>
          <p:cNvSpPr/>
          <p:nvPr/>
        </p:nvSpPr>
        <p:spPr bwMode="gray">
          <a:xfrm>
            <a:off x="6210568" y="3095607"/>
            <a:ext cx="471628" cy="471628"/>
          </a:xfrm>
          <a:prstGeom prst="ellipse">
            <a:avLst/>
          </a:prstGeom>
          <a:solidFill>
            <a:srgbClr val="00ABAB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rgbClr val="FFFFFF"/>
                </a:solidFill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7052958" y="3072626"/>
            <a:ext cx="4686604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/>
            <a:r>
              <a:rPr lang="ru-RU" sz="1300" b="1" dirty="0">
                <a:solidFill>
                  <a:srgbClr val="00ABAB"/>
                </a:solidFill>
                <a:cs typeface="Times New Roman" panose="02020603050405020304" pitchFamily="18" charset="0"/>
              </a:rPr>
              <a:t>добросовестность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недопущение извлечения выгоды из своих незаконных действий в целях получения налоговых выгод (налоговой экономии) и уменьшения налоговых платежей;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052959" y="3888894"/>
            <a:ext cx="4622045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300" b="1" dirty="0">
                <a:solidFill>
                  <a:srgbClr val="0076A8"/>
                </a:solidFill>
                <a:cs typeface="Times New Roman" panose="02020603050405020304" pitchFamily="18" charset="0"/>
              </a:rPr>
              <a:t>законность</a:t>
            </a:r>
            <a:r>
              <a:rPr lang="ru-RU" sz="1300" b="1" dirty="0">
                <a:solidFill>
                  <a:srgbClr val="00ABAB"/>
                </a:solidFill>
                <a:cs typeface="Times New Roman" panose="02020603050405020304" pitchFamily="18" charset="0"/>
              </a:rPr>
              <a:t>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неуклонное соблюдение требований законодательства Республики Казахстан;</a:t>
            </a:r>
          </a:p>
        </p:txBody>
      </p:sp>
      <p:sp>
        <p:nvSpPr>
          <p:cNvPr id="137" name="Oval 136"/>
          <p:cNvSpPr/>
          <p:nvPr/>
        </p:nvSpPr>
        <p:spPr bwMode="gray">
          <a:xfrm>
            <a:off x="6086972" y="4743096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86BC25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6130490" y="4788565"/>
            <a:ext cx="631785" cy="627883"/>
            <a:chOff x="729088" y="2179916"/>
            <a:chExt cx="3674434" cy="3674434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86BC25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86BC25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42" name="Oval 141"/>
          <p:cNvSpPr/>
          <p:nvPr/>
        </p:nvSpPr>
        <p:spPr bwMode="gray">
          <a:xfrm>
            <a:off x="6258968" y="4915092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43" name="Oval 142"/>
          <p:cNvSpPr/>
          <p:nvPr/>
        </p:nvSpPr>
        <p:spPr bwMode="gray">
          <a:xfrm>
            <a:off x="6210568" y="4866692"/>
            <a:ext cx="471628" cy="471628"/>
          </a:xfrm>
          <a:prstGeom prst="ellipse">
            <a:avLst/>
          </a:prstGeom>
          <a:solidFill>
            <a:srgbClr val="86BC25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ru-RU" sz="1600" b="1" dirty="0">
                <a:solidFill>
                  <a:srgbClr val="FFFFFF"/>
                </a:solidFill>
                <a:cs typeface="Calibri Light" panose="020F0302020204030204" pitchFamily="34" charset="0"/>
              </a:rPr>
              <a:t>5</a:t>
            </a:r>
            <a:endParaRPr lang="en-US" sz="1600" b="1" dirty="0" smtClean="0">
              <a:solidFill>
                <a:srgbClr val="FFFFFF"/>
              </a:solidFill>
              <a:cs typeface="Calibri Light" panose="020F0302020204030204" pitchFamily="34" charset="0"/>
            </a:endParaRPr>
          </a:p>
        </p:txBody>
      </p:sp>
      <p:sp>
        <p:nvSpPr>
          <p:cNvPr id="144" name="Oval 143"/>
          <p:cNvSpPr/>
          <p:nvPr/>
        </p:nvSpPr>
        <p:spPr bwMode="gray">
          <a:xfrm>
            <a:off x="6084337" y="5629105"/>
            <a:ext cx="718820" cy="718820"/>
          </a:xfrm>
          <a:prstGeom prst="ellipse">
            <a:avLst/>
          </a:prstGeom>
          <a:solidFill>
            <a:srgbClr val="FFFFFF"/>
          </a:solidFill>
          <a:ln w="22225">
            <a:solidFill>
              <a:srgbClr val="43B02A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cs typeface="Calibri Light" panose="020F0302020204030204" pitchFamily="34" charset="0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6127855" y="5674574"/>
            <a:ext cx="631785" cy="627883"/>
            <a:chOff x="729088" y="2179916"/>
            <a:chExt cx="3674434" cy="3674434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CE2C832-D59F-44DD-BDE0-C7857C106B53}"/>
                </a:ext>
              </a:extLst>
            </p:cNvPr>
            <p:cNvSpPr/>
            <p:nvPr/>
          </p:nvSpPr>
          <p:spPr bwMode="gray">
            <a:xfrm>
              <a:off x="729088" y="2179916"/>
              <a:ext cx="3674434" cy="3674434"/>
            </a:xfrm>
            <a:prstGeom prst="ellipse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7677C067-F953-407E-A85D-174799984A63}"/>
                </a:ext>
              </a:extLst>
            </p:cNvPr>
            <p:cNvSpPr/>
            <p:nvPr/>
          </p:nvSpPr>
          <p:spPr bwMode="gray">
            <a:xfrm>
              <a:off x="890623" y="2337680"/>
              <a:ext cx="3340395" cy="3340395"/>
            </a:xfrm>
            <a:prstGeom prst="ellipse">
              <a:avLst/>
            </a:prstGeom>
            <a:solidFill>
              <a:srgbClr val="43B02A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06740C1A-0E95-4951-B5B8-844414A4D899}"/>
                </a:ext>
              </a:extLst>
            </p:cNvPr>
            <p:cNvSpPr/>
            <p:nvPr/>
          </p:nvSpPr>
          <p:spPr bwMode="gray">
            <a:xfrm>
              <a:off x="1047944" y="2468948"/>
              <a:ext cx="3036722" cy="3036722"/>
            </a:xfrm>
            <a:prstGeom prst="ellipse">
              <a:avLst/>
            </a:prstGeom>
            <a:solidFill>
              <a:srgbClr val="43B02A">
                <a:alpha val="3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49" name="Oval 148"/>
          <p:cNvSpPr/>
          <p:nvPr/>
        </p:nvSpPr>
        <p:spPr bwMode="gray">
          <a:xfrm>
            <a:off x="6256333" y="5801101"/>
            <a:ext cx="374828" cy="374828"/>
          </a:xfrm>
          <a:prstGeom prst="ellipse">
            <a:avLst/>
          </a:prstGeom>
          <a:solidFill>
            <a:srgbClr val="FFFFFF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600" b="1" dirty="0" err="1" smtClean="0">
              <a:cs typeface="Calibri Light" panose="020F0302020204030204" pitchFamily="34" charset="0"/>
            </a:endParaRPr>
          </a:p>
        </p:txBody>
      </p:sp>
      <p:sp>
        <p:nvSpPr>
          <p:cNvPr id="150" name="Oval 149"/>
          <p:cNvSpPr/>
          <p:nvPr/>
        </p:nvSpPr>
        <p:spPr bwMode="gray">
          <a:xfrm>
            <a:off x="6207933" y="5752701"/>
            <a:ext cx="471628" cy="471628"/>
          </a:xfrm>
          <a:prstGeom prst="ellipse">
            <a:avLst/>
          </a:prstGeom>
          <a:solidFill>
            <a:srgbClr val="43B02A"/>
          </a:soli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r>
              <a:rPr lang="ru-RU" sz="1600" b="1" dirty="0">
                <a:solidFill>
                  <a:srgbClr val="FFFFFF"/>
                </a:solidFill>
                <a:cs typeface="Calibri Light" panose="020F0302020204030204" pitchFamily="34" charset="0"/>
              </a:rPr>
              <a:t>6</a:t>
            </a:r>
            <a:endParaRPr lang="en-US" sz="1600" b="1" dirty="0" smtClean="0">
              <a:solidFill>
                <a:srgbClr val="FFFFFF"/>
              </a:solidFill>
              <a:cs typeface="Calibri Light" panose="020F030202020403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7054290" y="6031934"/>
            <a:ext cx="442464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300" b="1" dirty="0">
                <a:solidFill>
                  <a:srgbClr val="43B02A"/>
                </a:solidFill>
                <a:cs typeface="Times New Roman" panose="02020603050405020304" pitchFamily="18" charset="0"/>
              </a:rPr>
              <a:t>прозрачность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гласность, открытость и </a:t>
            </a:r>
            <a:r>
              <a:rPr lang="ru-RU" sz="1300" dirty="0" err="1" smtClean="0">
                <a:solidFill>
                  <a:schemeClr val="bg1"/>
                </a:solidFill>
                <a:cs typeface="Times New Roman" panose="02020603050405020304" pitchFamily="18" charset="0"/>
              </a:rPr>
              <a:t>транспарентность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.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7052959" y="4363735"/>
            <a:ext cx="4686604" cy="16004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/>
            <a:r>
              <a:rPr lang="ru-RU" sz="1300" b="1" dirty="0">
                <a:solidFill>
                  <a:srgbClr val="86BC25"/>
                </a:solidFill>
                <a:cs typeface="Times New Roman" panose="02020603050405020304" pitchFamily="18" charset="0"/>
              </a:rPr>
              <a:t>расширенное информационное взаимодействие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- проведение системной работы по информационному взаимодействию для формирования единого информационного пространства между участниками Пилотного проекта и органами государственных доходов, в том числе создание условий для информационного обмена и доступа к информации согласно установленным требованиям в соответствии с законодательством Республики Казахстан в сфере информатизации.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294048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Горизонтальный </a:t>
            </a:r>
            <a:r>
              <a:rPr lang="ru-RU" dirty="0" smtClean="0"/>
              <a:t>мониторинг</a:t>
            </a:r>
            <a:endParaRPr lang="ru-RU" dirty="0"/>
          </a:p>
        </p:txBody>
      </p:sp>
      <p:cxnSp>
        <p:nvCxnSpPr>
          <p:cNvPr id="61" name="AutoShape 16"/>
          <p:cNvCxnSpPr>
            <a:cxnSpLocks noChangeShapeType="1"/>
          </p:cNvCxnSpPr>
          <p:nvPr/>
        </p:nvCxnSpPr>
        <p:spPr bwMode="auto">
          <a:xfrm flipH="1" flipV="1">
            <a:off x="6655580" y="4128657"/>
            <a:ext cx="1167726" cy="1394989"/>
          </a:xfrm>
          <a:prstGeom prst="straightConnector1">
            <a:avLst/>
          </a:prstGeom>
          <a:noFill/>
          <a:ln w="19050">
            <a:solidFill>
              <a:srgbClr val="0076A8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62" name="AutoShape 16"/>
          <p:cNvCxnSpPr>
            <a:cxnSpLocks noChangeShapeType="1"/>
          </p:cNvCxnSpPr>
          <p:nvPr/>
        </p:nvCxnSpPr>
        <p:spPr bwMode="auto">
          <a:xfrm flipV="1">
            <a:off x="4968011" y="4142931"/>
            <a:ext cx="974382" cy="1392934"/>
          </a:xfrm>
          <a:prstGeom prst="straightConnector1">
            <a:avLst/>
          </a:prstGeom>
          <a:noFill/>
          <a:ln w="19050">
            <a:solidFill>
              <a:srgbClr val="43B02A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63" name="AutoShape 15"/>
          <p:cNvCxnSpPr>
            <a:cxnSpLocks noChangeShapeType="1"/>
          </p:cNvCxnSpPr>
          <p:nvPr/>
        </p:nvCxnSpPr>
        <p:spPr bwMode="auto">
          <a:xfrm flipH="1">
            <a:off x="6728766" y="2031646"/>
            <a:ext cx="1096481" cy="1370129"/>
          </a:xfrm>
          <a:prstGeom prst="straightConnector1">
            <a:avLst/>
          </a:prstGeom>
          <a:noFill/>
          <a:ln w="19050">
            <a:solidFill>
              <a:srgbClr val="43B02A"/>
            </a:solidFill>
            <a:round/>
            <a:headEnd type="triangle" w="med" len="med"/>
            <a:tailEnd type="none" w="med" len="med"/>
          </a:ln>
        </p:spPr>
      </p:cxnSp>
      <p:sp>
        <p:nvSpPr>
          <p:cNvPr id="64" name="Oval 2"/>
          <p:cNvSpPr>
            <a:spLocks noChangeArrowheads="1"/>
          </p:cNvSpPr>
          <p:nvPr/>
        </p:nvSpPr>
        <p:spPr bwMode="auto">
          <a:xfrm>
            <a:off x="5202024" y="3260092"/>
            <a:ext cx="2193925" cy="1017587"/>
          </a:xfrm>
          <a:prstGeom prst="ellipse">
            <a:avLst/>
          </a:prstGeom>
          <a:solidFill>
            <a:srgbClr val="43B02A"/>
          </a:solidFill>
          <a:ln w="38100">
            <a:solidFill>
              <a:srgbClr val="046A38"/>
            </a:solidFill>
            <a:round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400" b="1" kern="0" dirty="0" smtClean="0">
                <a:solidFill>
                  <a:schemeClr val="bg1"/>
                </a:solidFill>
                <a:ea typeface="ＭＳ Ｐゴシック" charset="-128"/>
                <a:cs typeface="Calibri Light" panose="020F0302020204030204" pitchFamily="34" charset="0"/>
              </a:rPr>
              <a:t>Горизонтальный мониторинг</a:t>
            </a:r>
            <a:endParaRPr lang="en-US" sz="1400" b="1" kern="0" dirty="0">
              <a:solidFill>
                <a:schemeClr val="bg1"/>
              </a:solidFill>
              <a:ea typeface="ＭＳ Ｐゴシック" charset="-128"/>
              <a:cs typeface="Calibri Light" panose="020F0302020204030204" pitchFamily="34" charset="0"/>
            </a:endParaRP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3159137" y="5525782"/>
            <a:ext cx="3160800" cy="731520"/>
          </a:xfrm>
          <a:prstGeom prst="rect">
            <a:avLst/>
          </a:prstGeom>
          <a:noFill/>
          <a:ln w="19050">
            <a:solidFill>
              <a:srgbClr val="43B02A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рекращение производств по делам об административных правонарушениях за нарушение налогового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законодательства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66" name="Rectangle 4"/>
          <p:cNvSpPr>
            <a:spLocks noChangeArrowheads="1"/>
          </p:cNvSpPr>
          <p:nvPr/>
        </p:nvSpPr>
        <p:spPr bwMode="auto">
          <a:xfrm>
            <a:off x="8031169" y="2346960"/>
            <a:ext cx="3160800" cy="731520"/>
          </a:xfrm>
          <a:prstGeom prst="rect">
            <a:avLst/>
          </a:prstGeom>
          <a:noFill/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Получение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исьменных разъяснений Комитета, в </a:t>
            </a:r>
            <a:r>
              <a:rPr lang="ru-RU" sz="13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т.ч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. по планируемым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сделкам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67" name="Rectangle 5"/>
          <p:cNvSpPr>
            <a:spLocks noChangeArrowheads="1"/>
          </p:cNvSpPr>
          <p:nvPr/>
        </p:nvSpPr>
        <p:spPr bwMode="auto">
          <a:xfrm>
            <a:off x="8014247" y="3406141"/>
            <a:ext cx="3160800" cy="731520"/>
          </a:xfrm>
          <a:prstGeom prst="rect">
            <a:avLst/>
          </a:prstGeom>
          <a:noFill/>
          <a:ln w="19050">
            <a:solidFill>
              <a:srgbClr val="C4D600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Нет уведомлений и извещений по результатам камерального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онтроля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68" name="Rectangle 6"/>
          <p:cNvSpPr>
            <a:spLocks noChangeArrowheads="1"/>
          </p:cNvSpPr>
          <p:nvPr/>
        </p:nvSpPr>
        <p:spPr bwMode="auto">
          <a:xfrm>
            <a:off x="1412112" y="4584066"/>
            <a:ext cx="3160800" cy="731520"/>
          </a:xfrm>
          <a:prstGeom prst="rect">
            <a:avLst/>
          </a:prstGeom>
          <a:noFill/>
          <a:ln w="19050">
            <a:solidFill>
              <a:srgbClr val="86BC25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Возможность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олучения рассрочки или отсрочки  по уплате налогов и других обязательных платежей в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юджет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69" name="Rectangle 7"/>
          <p:cNvSpPr>
            <a:spLocks noChangeArrowheads="1"/>
          </p:cNvSpPr>
          <p:nvPr/>
        </p:nvSpPr>
        <p:spPr bwMode="auto">
          <a:xfrm>
            <a:off x="8014245" y="4584066"/>
            <a:ext cx="3160800" cy="731520"/>
          </a:xfrm>
          <a:prstGeom prst="rect">
            <a:avLst/>
          </a:prstGeom>
          <a:noFill/>
          <a:ln w="19050">
            <a:solidFill>
              <a:srgbClr val="00ABAB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Получение рекомендаций от Комитета по вопросам исполнения налоговых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бязательств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70" name="Rectangle 8"/>
          <p:cNvSpPr>
            <a:spLocks noChangeArrowheads="1"/>
          </p:cNvSpPr>
          <p:nvPr/>
        </p:nvSpPr>
        <p:spPr bwMode="auto">
          <a:xfrm>
            <a:off x="2963898" y="1309122"/>
            <a:ext cx="3160800" cy="731520"/>
          </a:xfrm>
          <a:prstGeom prst="rect">
            <a:avLst/>
          </a:prstGeom>
          <a:noFill/>
          <a:ln w="19050">
            <a:solidFill>
              <a:srgbClr val="0076A8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Налоговые проверки не проводятся, за исключением отдельных случаев</a:t>
            </a:r>
          </a:p>
        </p:txBody>
      </p:sp>
      <p:sp>
        <p:nvSpPr>
          <p:cNvPr id="71" name="Rectangle 9"/>
          <p:cNvSpPr>
            <a:spLocks noChangeArrowheads="1"/>
          </p:cNvSpPr>
          <p:nvPr/>
        </p:nvSpPr>
        <p:spPr bwMode="auto">
          <a:xfrm>
            <a:off x="1030637" y="3406141"/>
            <a:ext cx="3160800" cy="731520"/>
          </a:xfrm>
          <a:prstGeom prst="rect">
            <a:avLst/>
          </a:prstGeom>
          <a:noFill/>
          <a:ln w="19050">
            <a:solidFill>
              <a:srgbClr val="C4D600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Вопросы, возникающие в ходе Пилотного проекта, рассматриваются Согласительной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омиссией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72" name="Rectangle 10"/>
          <p:cNvSpPr>
            <a:spLocks noChangeArrowheads="1"/>
          </p:cNvSpPr>
          <p:nvPr/>
        </p:nvSpPr>
        <p:spPr bwMode="auto">
          <a:xfrm>
            <a:off x="1422400" y="2207911"/>
            <a:ext cx="3161577" cy="824849"/>
          </a:xfrm>
          <a:prstGeom prst="rect">
            <a:avLst/>
          </a:prstGeom>
          <a:noFill/>
          <a:ln w="19050">
            <a:solidFill>
              <a:srgbClr val="00ABAB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Упрощенный порядок возврата превышения НДС в размере 80% от суммы превышения НДС, сложившегося за отчетный налоговый период </a:t>
            </a:r>
            <a:endParaRPr lang="en-US" sz="1300" kern="0" dirty="0">
              <a:solidFill>
                <a:schemeClr val="bg1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cxnSp>
        <p:nvCxnSpPr>
          <p:cNvPr id="73" name="AutoShape 11"/>
          <p:cNvCxnSpPr>
            <a:cxnSpLocks noChangeShapeType="1"/>
            <a:stCxn id="72" idx="3"/>
            <a:endCxn id="64" idx="1"/>
          </p:cNvCxnSpPr>
          <p:nvPr/>
        </p:nvCxnSpPr>
        <p:spPr bwMode="auto">
          <a:xfrm>
            <a:off x="4583977" y="2620336"/>
            <a:ext cx="939340" cy="788778"/>
          </a:xfrm>
          <a:prstGeom prst="curvedConnector2">
            <a:avLst/>
          </a:prstGeom>
          <a:noFill/>
          <a:ln w="19050">
            <a:solidFill>
              <a:srgbClr val="00ABAB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4" name="AutoShape 12"/>
          <p:cNvCxnSpPr>
            <a:cxnSpLocks noChangeShapeType="1"/>
            <a:stCxn id="68" idx="3"/>
            <a:endCxn id="64" idx="3"/>
          </p:cNvCxnSpPr>
          <p:nvPr/>
        </p:nvCxnSpPr>
        <p:spPr bwMode="auto">
          <a:xfrm flipV="1">
            <a:off x="4572912" y="4128657"/>
            <a:ext cx="950405" cy="821169"/>
          </a:xfrm>
          <a:prstGeom prst="curvedConnector2">
            <a:avLst/>
          </a:prstGeom>
          <a:noFill/>
          <a:ln w="19050">
            <a:solidFill>
              <a:srgbClr val="86BC25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5" name="AutoShape 13"/>
          <p:cNvCxnSpPr>
            <a:cxnSpLocks noChangeShapeType="1"/>
          </p:cNvCxnSpPr>
          <p:nvPr/>
        </p:nvCxnSpPr>
        <p:spPr bwMode="auto">
          <a:xfrm rot="10800000">
            <a:off x="7074657" y="4128657"/>
            <a:ext cx="939589" cy="821169"/>
          </a:xfrm>
          <a:prstGeom prst="curvedConnector2">
            <a:avLst/>
          </a:prstGeom>
          <a:noFill/>
          <a:ln w="19050">
            <a:solidFill>
              <a:srgbClr val="00ABAB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6" name="AutoShape 14"/>
          <p:cNvCxnSpPr>
            <a:cxnSpLocks noChangeShapeType="1"/>
            <a:stCxn id="66" idx="1"/>
            <a:endCxn id="64" idx="7"/>
          </p:cNvCxnSpPr>
          <p:nvPr/>
        </p:nvCxnSpPr>
        <p:spPr bwMode="auto">
          <a:xfrm rot="10800000" flipV="1">
            <a:off x="7074657" y="2712720"/>
            <a:ext cx="956513" cy="696394"/>
          </a:xfrm>
          <a:prstGeom prst="curvedConnector2">
            <a:avLst/>
          </a:prstGeom>
          <a:noFill/>
          <a:ln w="19050">
            <a:solidFill>
              <a:srgbClr val="86BC25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7" name="AutoShape 15"/>
          <p:cNvCxnSpPr>
            <a:cxnSpLocks noChangeShapeType="1"/>
          </p:cNvCxnSpPr>
          <p:nvPr/>
        </p:nvCxnSpPr>
        <p:spPr bwMode="auto">
          <a:xfrm>
            <a:off x="5048114" y="2054916"/>
            <a:ext cx="849714" cy="1279935"/>
          </a:xfrm>
          <a:prstGeom prst="straightConnector1">
            <a:avLst/>
          </a:prstGeom>
          <a:noFill/>
          <a:ln w="19050">
            <a:solidFill>
              <a:srgbClr val="0076A8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8" name="AutoShape 17"/>
          <p:cNvCxnSpPr>
            <a:cxnSpLocks noChangeShapeType="1"/>
            <a:stCxn id="71" idx="3"/>
            <a:endCxn id="64" idx="2"/>
          </p:cNvCxnSpPr>
          <p:nvPr/>
        </p:nvCxnSpPr>
        <p:spPr bwMode="auto">
          <a:xfrm flipV="1">
            <a:off x="4191437" y="3768886"/>
            <a:ext cx="1010587" cy="3015"/>
          </a:xfrm>
          <a:prstGeom prst="straightConnector1">
            <a:avLst/>
          </a:prstGeom>
          <a:noFill/>
          <a:ln w="19050">
            <a:solidFill>
              <a:srgbClr val="C4D600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79" name="AutoShape 18"/>
          <p:cNvCxnSpPr>
            <a:cxnSpLocks noChangeShapeType="1"/>
          </p:cNvCxnSpPr>
          <p:nvPr/>
        </p:nvCxnSpPr>
        <p:spPr bwMode="auto">
          <a:xfrm flipH="1" flipV="1">
            <a:off x="7395949" y="3768210"/>
            <a:ext cx="618299" cy="3016"/>
          </a:xfrm>
          <a:prstGeom prst="straightConnector1">
            <a:avLst/>
          </a:prstGeom>
          <a:noFill/>
          <a:ln w="19050">
            <a:solidFill>
              <a:srgbClr val="C4D600"/>
            </a:solidFill>
            <a:round/>
            <a:headEnd type="triangle" w="med" len="med"/>
            <a:tailEnd type="none" w="med" len="med"/>
          </a:ln>
        </p:spPr>
      </p:cxnSp>
      <p:sp>
        <p:nvSpPr>
          <p:cNvPr id="80" name="Rectangle 8"/>
          <p:cNvSpPr>
            <a:spLocks noChangeArrowheads="1"/>
          </p:cNvSpPr>
          <p:nvPr/>
        </p:nvSpPr>
        <p:spPr bwMode="auto">
          <a:xfrm>
            <a:off x="6644114" y="1292536"/>
            <a:ext cx="3160800" cy="731520"/>
          </a:xfrm>
          <a:prstGeom prst="rect">
            <a:avLst/>
          </a:prstGeom>
          <a:noFill/>
          <a:ln w="19050">
            <a:solidFill>
              <a:srgbClr val="43B02A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 </a:t>
            </a: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участие в мониторинге крупных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алогоплательщиков</a:t>
            </a:r>
            <a:endParaRPr lang="en-US" sz="1300" kern="0" dirty="0">
              <a:solidFill>
                <a:prstClr val="white"/>
              </a:solidFill>
              <a:ea typeface="ＭＳ Ｐゴシック" pitchFamily="50" charset="-128"/>
              <a:cs typeface="Calibri Light" panose="020F0302020204030204" pitchFamily="34" charset="0"/>
            </a:endParaRPr>
          </a:p>
        </p:txBody>
      </p:sp>
      <p:sp>
        <p:nvSpPr>
          <p:cNvPr id="81" name="Rectangle 3"/>
          <p:cNvSpPr>
            <a:spLocks noChangeArrowheads="1"/>
          </p:cNvSpPr>
          <p:nvPr/>
        </p:nvSpPr>
        <p:spPr bwMode="auto">
          <a:xfrm>
            <a:off x="6644114" y="5513715"/>
            <a:ext cx="3160800" cy="731520"/>
          </a:xfrm>
          <a:prstGeom prst="rect">
            <a:avLst/>
          </a:prstGeom>
          <a:noFill/>
          <a:ln w="19050">
            <a:solidFill>
              <a:srgbClr val="0076A8"/>
            </a:solidFill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954088">
              <a:lnSpc>
                <a:spcPct val="95000"/>
              </a:lnSpc>
              <a:defRPr/>
            </a:pPr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Сниженный размер пени за просрочку исполнения налогового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бязательства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1054558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Горизонтальный мониторинг</a:t>
            </a:r>
            <a:endParaRPr lang="ru-RU" dirty="0"/>
          </a:p>
        </p:txBody>
      </p:sp>
      <p:sp>
        <p:nvSpPr>
          <p:cNvPr id="25" name="Rectangle 68">
            <a:extLst>
              <a:ext uri="{FF2B5EF4-FFF2-40B4-BE49-F238E27FC236}">
                <a16:creationId xmlns:a16="http://schemas.microsoft.com/office/drawing/2014/main" id="{28E409C9-3C92-5249-996C-1DA06BD1349D}"/>
              </a:ext>
            </a:extLst>
          </p:cNvPr>
          <p:cNvSpPr/>
          <p:nvPr/>
        </p:nvSpPr>
        <p:spPr bwMode="gray">
          <a:xfrm>
            <a:off x="6508035" y="5160082"/>
            <a:ext cx="5231528" cy="550697"/>
          </a:xfrm>
          <a:prstGeom prst="rect">
            <a:avLst/>
          </a:prstGeom>
          <a:solidFill>
            <a:srgbClr val="43B02A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24B730AE-5DDA-0F4F-92E4-2D9862C0F2D5}"/>
              </a:ext>
            </a:extLst>
          </p:cNvPr>
          <p:cNvSpPr/>
          <p:nvPr/>
        </p:nvSpPr>
        <p:spPr bwMode="gray">
          <a:xfrm>
            <a:off x="957398" y="5831625"/>
            <a:ext cx="4967001" cy="504311"/>
          </a:xfrm>
          <a:prstGeom prst="rect">
            <a:avLst/>
          </a:prstGeom>
          <a:solidFill>
            <a:srgbClr val="007CB0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492257" y="1126492"/>
            <a:ext cx="4839857" cy="715089"/>
          </a:xfrm>
          <a:prstGeom prst="round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Внедрение системы внутреннего контроля, направленной на  обеспечение эффективного контроля над исчислением и уплатой  налогов и других платежей в </a:t>
            </a:r>
            <a:r>
              <a:rPr lang="ru-RU" sz="12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юджет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870779" y="1226631"/>
            <a:ext cx="4839857" cy="510778"/>
          </a:xfrm>
          <a:prstGeom prst="roundRect">
            <a:avLst/>
          </a:prstGeom>
          <a:noFill/>
          <a:ln w="28575">
            <a:solidFill>
              <a:srgbClr val="43B02A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Автоматизация и оптимизация </a:t>
            </a:r>
            <a:endParaRPr lang="ru-RU" sz="12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изнес-процессов</a:t>
            </a:r>
            <a:endParaRPr lang="ru-RU" sz="12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9" name="Rounded Rectangle 28"/>
          <p:cNvSpPr/>
          <p:nvPr/>
        </p:nvSpPr>
        <p:spPr bwMode="gray">
          <a:xfrm>
            <a:off x="2178397" y="1997522"/>
            <a:ext cx="7835206" cy="286163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</p:spPr>
        <p:txBody>
          <a:bodyPr vert="horz" lIns="36000" tIns="36000" rIns="36000" bIns="36000" rtlCol="0" anchor="ctr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Задачи СВК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 flipV="1">
            <a:off x="5391929" y="1484465"/>
            <a:ext cx="1440000" cy="1"/>
          </a:xfrm>
          <a:prstGeom prst="line">
            <a:avLst/>
          </a:prstGeom>
          <a:ln w="19050">
            <a:solidFill>
              <a:srgbClr val="43B02A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69">
            <a:extLst>
              <a:ext uri="{FF2B5EF4-FFF2-40B4-BE49-F238E27FC236}">
                <a16:creationId xmlns:a16="http://schemas.microsoft.com/office/drawing/2014/main" id="{62689EE1-BB53-F349-82B1-AD9F75DA6FD5}"/>
              </a:ext>
            </a:extLst>
          </p:cNvPr>
          <p:cNvSpPr/>
          <p:nvPr/>
        </p:nvSpPr>
        <p:spPr bwMode="gray">
          <a:xfrm>
            <a:off x="752044" y="4497575"/>
            <a:ext cx="10988847" cy="420441"/>
          </a:xfrm>
          <a:prstGeom prst="rect">
            <a:avLst/>
          </a:prstGeom>
          <a:solidFill>
            <a:srgbClr val="26890D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2" name="Rectangle 70">
            <a:extLst>
              <a:ext uri="{FF2B5EF4-FFF2-40B4-BE49-F238E27FC236}">
                <a16:creationId xmlns:a16="http://schemas.microsoft.com/office/drawing/2014/main" id="{8748F351-CEC9-414A-81A2-4F2C4E0A1CBF}"/>
              </a:ext>
            </a:extLst>
          </p:cNvPr>
          <p:cNvSpPr/>
          <p:nvPr/>
        </p:nvSpPr>
        <p:spPr bwMode="gray">
          <a:xfrm>
            <a:off x="887812" y="5154187"/>
            <a:ext cx="5063726" cy="614895"/>
          </a:xfrm>
          <a:prstGeom prst="rect">
            <a:avLst/>
          </a:prstGeom>
          <a:solidFill>
            <a:srgbClr val="046A38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/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Rectangle 68">
            <a:extLst>
              <a:ext uri="{FF2B5EF4-FFF2-40B4-BE49-F238E27FC236}">
                <a16:creationId xmlns:a16="http://schemas.microsoft.com/office/drawing/2014/main" id="{28E409C9-3C92-5249-996C-1DA06BD1349D}"/>
              </a:ext>
            </a:extLst>
          </p:cNvPr>
          <p:cNvSpPr/>
          <p:nvPr/>
        </p:nvSpPr>
        <p:spPr bwMode="gray">
          <a:xfrm>
            <a:off x="809656" y="3868673"/>
            <a:ext cx="10931237" cy="405709"/>
          </a:xfrm>
          <a:prstGeom prst="rect">
            <a:avLst/>
          </a:prstGeom>
          <a:solidFill>
            <a:srgbClr val="43B02A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4" name="Rectangle 67">
            <a:extLst>
              <a:ext uri="{FF2B5EF4-FFF2-40B4-BE49-F238E27FC236}">
                <a16:creationId xmlns:a16="http://schemas.microsoft.com/office/drawing/2014/main" id="{24B730AE-5DDA-0F4F-92E4-2D9862C0F2D5}"/>
              </a:ext>
            </a:extLst>
          </p:cNvPr>
          <p:cNvSpPr/>
          <p:nvPr/>
        </p:nvSpPr>
        <p:spPr bwMode="gray">
          <a:xfrm>
            <a:off x="887812" y="3187876"/>
            <a:ext cx="10853081" cy="461815"/>
          </a:xfrm>
          <a:prstGeom prst="rect">
            <a:avLst/>
          </a:prstGeom>
          <a:solidFill>
            <a:srgbClr val="007CB0"/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FB60940-E2F4-2148-B467-28021FFBD11A}"/>
              </a:ext>
            </a:extLst>
          </p:cNvPr>
          <p:cNvSpPr/>
          <p:nvPr/>
        </p:nvSpPr>
        <p:spPr bwMode="gray">
          <a:xfrm flipH="1">
            <a:off x="814322" y="2512830"/>
            <a:ext cx="10926569" cy="447083"/>
          </a:xfrm>
          <a:prstGeom prst="rect">
            <a:avLst/>
          </a:prstGeom>
          <a:solidFill>
            <a:srgbClr val="007CB0">
              <a:lumMod val="60000"/>
              <a:lumOff val="40000"/>
            </a:srgbClr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C187FBD-1338-0E4F-954B-DCDC240D251C}"/>
              </a:ext>
            </a:extLst>
          </p:cNvPr>
          <p:cNvSpPr/>
          <p:nvPr/>
        </p:nvSpPr>
        <p:spPr bwMode="gray">
          <a:xfrm flipH="1">
            <a:off x="471054" y="2421501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non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3258622-3767-8C4D-9C9B-67C03C9CD7BC}"/>
              </a:ext>
            </a:extLst>
          </p:cNvPr>
          <p:cNvSpPr/>
          <p:nvPr/>
        </p:nvSpPr>
        <p:spPr bwMode="gray">
          <a:xfrm flipH="1">
            <a:off x="471054" y="3783527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AD24E40-6BF5-BB4D-ADDD-B5B68734CED6}"/>
              </a:ext>
            </a:extLst>
          </p:cNvPr>
          <p:cNvSpPr/>
          <p:nvPr/>
        </p:nvSpPr>
        <p:spPr bwMode="gray">
          <a:xfrm flipH="1">
            <a:off x="471054" y="4431527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DF1445F-AB37-6541-B6A5-D937BFA6EC8E}"/>
              </a:ext>
            </a:extLst>
          </p:cNvPr>
          <p:cNvSpPr/>
          <p:nvPr/>
        </p:nvSpPr>
        <p:spPr bwMode="gray">
          <a:xfrm flipH="1">
            <a:off x="471054" y="3106946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219A2D7-6300-5B46-B157-6F5EFA39D723}"/>
              </a:ext>
            </a:extLst>
          </p:cNvPr>
          <p:cNvSpPr/>
          <p:nvPr/>
        </p:nvSpPr>
        <p:spPr bwMode="gray">
          <a:xfrm flipH="1">
            <a:off x="492257" y="5147214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1" name="Freeform 141">
            <a:extLst>
              <a:ext uri="{FF2B5EF4-FFF2-40B4-BE49-F238E27FC236}">
                <a16:creationId xmlns:a16="http://schemas.microsoft.com/office/drawing/2014/main" id="{2B649809-4F74-DA43-AE75-715DB9C7FD5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8441" y="5227521"/>
            <a:ext cx="432000" cy="432000"/>
          </a:xfrm>
          <a:custGeom>
            <a:avLst/>
            <a:gdLst>
              <a:gd name="T0" fmla="*/ 341 w 512"/>
              <a:gd name="T1" fmla="*/ 330 h 512"/>
              <a:gd name="T2" fmla="*/ 138 w 512"/>
              <a:gd name="T3" fmla="*/ 224 h 512"/>
              <a:gd name="T4" fmla="*/ 224 w 512"/>
              <a:gd name="T5" fmla="*/ 248 h 512"/>
              <a:gd name="T6" fmla="*/ 240 w 512"/>
              <a:gd name="T7" fmla="*/ 234 h 512"/>
              <a:gd name="T8" fmla="*/ 247 w 512"/>
              <a:gd name="T9" fmla="*/ 242 h 512"/>
              <a:gd name="T10" fmla="*/ 264 w 512"/>
              <a:gd name="T11" fmla="*/ 259 h 512"/>
              <a:gd name="T12" fmla="*/ 244 w 512"/>
              <a:gd name="T13" fmla="*/ 254 h 512"/>
              <a:gd name="T14" fmla="*/ 234 w 512"/>
              <a:gd name="T15" fmla="*/ 260 h 512"/>
              <a:gd name="T16" fmla="*/ 240 w 512"/>
              <a:gd name="T17" fmla="*/ 267 h 512"/>
              <a:gd name="T18" fmla="*/ 261 w 512"/>
              <a:gd name="T19" fmla="*/ 276 h 512"/>
              <a:gd name="T20" fmla="*/ 269 w 512"/>
              <a:gd name="T21" fmla="*/ 290 h 512"/>
              <a:gd name="T22" fmla="*/ 247 w 512"/>
              <a:gd name="T23" fmla="*/ 309 h 512"/>
              <a:gd name="T24" fmla="*/ 240 w 512"/>
              <a:gd name="T25" fmla="*/ 320 h 512"/>
              <a:gd name="T26" fmla="*/ 218 w 512"/>
              <a:gd name="T27" fmla="*/ 305 h 512"/>
              <a:gd name="T28" fmla="*/ 229 w 512"/>
              <a:gd name="T29" fmla="*/ 295 h 512"/>
              <a:gd name="T30" fmla="*/ 244 w 512"/>
              <a:gd name="T31" fmla="*/ 297 h 512"/>
              <a:gd name="T32" fmla="*/ 254 w 512"/>
              <a:gd name="T33" fmla="*/ 291 h 512"/>
              <a:gd name="T34" fmla="*/ 247 w 512"/>
              <a:gd name="T35" fmla="*/ 284 h 512"/>
              <a:gd name="T36" fmla="*/ 237 w 512"/>
              <a:gd name="T37" fmla="*/ 280 h 512"/>
              <a:gd name="T38" fmla="*/ 218 w 512"/>
              <a:gd name="T39" fmla="*/ 260 h 512"/>
              <a:gd name="T40" fmla="*/ 181 w 512"/>
              <a:gd name="T41" fmla="*/ 181 h 512"/>
              <a:gd name="T42" fmla="*/ 384 w 512"/>
              <a:gd name="T43" fmla="*/ 288 h 512"/>
              <a:gd name="T44" fmla="*/ 362 w 512"/>
              <a:gd name="T45" fmla="*/ 213 h 512"/>
              <a:gd name="T46" fmla="*/ 181 w 512"/>
              <a:gd name="T47" fmla="*/ 202 h 512"/>
              <a:gd name="T48" fmla="*/ 256 w 512"/>
              <a:gd name="T49" fmla="*/ 0 h 512"/>
              <a:gd name="T50" fmla="*/ 256 w 512"/>
              <a:gd name="T51" fmla="*/ 512 h 512"/>
              <a:gd name="T52" fmla="*/ 256 w 512"/>
              <a:gd name="T53" fmla="*/ 0 h 512"/>
              <a:gd name="T54" fmla="*/ 394 w 512"/>
              <a:gd name="T55" fmla="*/ 309 h 512"/>
              <a:gd name="T56" fmla="*/ 362 w 512"/>
              <a:gd name="T57" fmla="*/ 341 h 512"/>
              <a:gd name="T58" fmla="*/ 128 w 512"/>
              <a:gd name="T59" fmla="*/ 352 h 512"/>
              <a:gd name="T60" fmla="*/ 117 w 512"/>
              <a:gd name="T61" fmla="*/ 213 h 512"/>
              <a:gd name="T62" fmla="*/ 160 w 512"/>
              <a:gd name="T63" fmla="*/ 202 h 512"/>
              <a:gd name="T64" fmla="*/ 170 w 512"/>
              <a:gd name="T65" fmla="*/ 160 h 512"/>
              <a:gd name="T66" fmla="*/ 405 w 512"/>
              <a:gd name="T67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38" y="330"/>
                </a:moveTo>
                <a:cubicBezTo>
                  <a:pt x="341" y="330"/>
                  <a:pt x="341" y="330"/>
                  <a:pt x="341" y="330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138" y="224"/>
                  <a:pt x="138" y="224"/>
                  <a:pt x="138" y="224"/>
                </a:cubicBezTo>
                <a:lnTo>
                  <a:pt x="138" y="330"/>
                </a:lnTo>
                <a:close/>
                <a:moveTo>
                  <a:pt x="224" y="248"/>
                </a:moveTo>
                <a:cubicBezTo>
                  <a:pt x="228" y="245"/>
                  <a:pt x="233" y="243"/>
                  <a:pt x="240" y="242"/>
                </a:cubicBezTo>
                <a:cubicBezTo>
                  <a:pt x="240" y="234"/>
                  <a:pt x="240" y="234"/>
                  <a:pt x="240" y="234"/>
                </a:cubicBezTo>
                <a:cubicBezTo>
                  <a:pt x="247" y="234"/>
                  <a:pt x="247" y="234"/>
                  <a:pt x="247" y="234"/>
                </a:cubicBezTo>
                <a:cubicBezTo>
                  <a:pt x="247" y="242"/>
                  <a:pt x="247" y="242"/>
                  <a:pt x="247" y="242"/>
                </a:cubicBezTo>
                <a:cubicBezTo>
                  <a:pt x="255" y="242"/>
                  <a:pt x="262" y="244"/>
                  <a:pt x="268" y="247"/>
                </a:cubicBezTo>
                <a:cubicBezTo>
                  <a:pt x="264" y="259"/>
                  <a:pt x="264" y="259"/>
                  <a:pt x="264" y="259"/>
                </a:cubicBezTo>
                <a:cubicBezTo>
                  <a:pt x="258" y="256"/>
                  <a:pt x="253" y="255"/>
                  <a:pt x="247" y="255"/>
                </a:cubicBezTo>
                <a:cubicBezTo>
                  <a:pt x="247" y="255"/>
                  <a:pt x="246" y="254"/>
                  <a:pt x="244" y="254"/>
                </a:cubicBezTo>
                <a:cubicBezTo>
                  <a:pt x="242" y="254"/>
                  <a:pt x="240" y="255"/>
                  <a:pt x="240" y="255"/>
                </a:cubicBezTo>
                <a:cubicBezTo>
                  <a:pt x="236" y="255"/>
                  <a:pt x="234" y="257"/>
                  <a:pt x="234" y="260"/>
                </a:cubicBezTo>
                <a:cubicBezTo>
                  <a:pt x="234" y="262"/>
                  <a:pt x="234" y="263"/>
                  <a:pt x="235" y="264"/>
                </a:cubicBezTo>
                <a:cubicBezTo>
                  <a:pt x="236" y="265"/>
                  <a:pt x="238" y="266"/>
                  <a:pt x="240" y="267"/>
                </a:cubicBezTo>
                <a:cubicBezTo>
                  <a:pt x="247" y="270"/>
                  <a:pt x="247" y="270"/>
                  <a:pt x="247" y="270"/>
                </a:cubicBezTo>
                <a:cubicBezTo>
                  <a:pt x="254" y="272"/>
                  <a:pt x="259" y="274"/>
                  <a:pt x="261" y="276"/>
                </a:cubicBezTo>
                <a:cubicBezTo>
                  <a:pt x="264" y="278"/>
                  <a:pt x="266" y="280"/>
                  <a:pt x="268" y="282"/>
                </a:cubicBezTo>
                <a:cubicBezTo>
                  <a:pt x="269" y="285"/>
                  <a:pt x="269" y="287"/>
                  <a:pt x="269" y="290"/>
                </a:cubicBezTo>
                <a:cubicBezTo>
                  <a:pt x="269" y="296"/>
                  <a:pt x="268" y="300"/>
                  <a:pt x="264" y="303"/>
                </a:cubicBezTo>
                <a:cubicBezTo>
                  <a:pt x="260" y="307"/>
                  <a:pt x="254" y="309"/>
                  <a:pt x="247" y="309"/>
                </a:cubicBezTo>
                <a:cubicBezTo>
                  <a:pt x="247" y="320"/>
                  <a:pt x="247" y="320"/>
                  <a:pt x="247" y="320"/>
                </a:cubicBezTo>
                <a:cubicBezTo>
                  <a:pt x="240" y="320"/>
                  <a:pt x="240" y="320"/>
                  <a:pt x="240" y="320"/>
                </a:cubicBezTo>
                <a:cubicBezTo>
                  <a:pt x="240" y="309"/>
                  <a:pt x="240" y="309"/>
                  <a:pt x="240" y="309"/>
                </a:cubicBezTo>
                <a:cubicBezTo>
                  <a:pt x="232" y="309"/>
                  <a:pt x="225" y="308"/>
                  <a:pt x="218" y="305"/>
                </a:cubicBezTo>
                <a:cubicBezTo>
                  <a:pt x="218" y="292"/>
                  <a:pt x="218" y="292"/>
                  <a:pt x="218" y="292"/>
                </a:cubicBezTo>
                <a:cubicBezTo>
                  <a:pt x="221" y="293"/>
                  <a:pt x="225" y="294"/>
                  <a:pt x="229" y="295"/>
                </a:cubicBezTo>
                <a:cubicBezTo>
                  <a:pt x="233" y="297"/>
                  <a:pt x="237" y="297"/>
                  <a:pt x="240" y="297"/>
                </a:cubicBezTo>
                <a:cubicBezTo>
                  <a:pt x="240" y="297"/>
                  <a:pt x="242" y="297"/>
                  <a:pt x="244" y="297"/>
                </a:cubicBezTo>
                <a:cubicBezTo>
                  <a:pt x="246" y="297"/>
                  <a:pt x="247" y="297"/>
                  <a:pt x="247" y="297"/>
                </a:cubicBezTo>
                <a:cubicBezTo>
                  <a:pt x="252" y="296"/>
                  <a:pt x="254" y="294"/>
                  <a:pt x="254" y="291"/>
                </a:cubicBezTo>
                <a:cubicBezTo>
                  <a:pt x="254" y="290"/>
                  <a:pt x="254" y="288"/>
                  <a:pt x="252" y="287"/>
                </a:cubicBezTo>
                <a:cubicBezTo>
                  <a:pt x="251" y="286"/>
                  <a:pt x="250" y="285"/>
                  <a:pt x="247" y="284"/>
                </a:cubicBezTo>
                <a:cubicBezTo>
                  <a:pt x="240" y="282"/>
                  <a:pt x="240" y="282"/>
                  <a:pt x="240" y="282"/>
                </a:cubicBezTo>
                <a:cubicBezTo>
                  <a:pt x="237" y="280"/>
                  <a:pt x="237" y="280"/>
                  <a:pt x="237" y="280"/>
                </a:cubicBezTo>
                <a:cubicBezTo>
                  <a:pt x="230" y="278"/>
                  <a:pt x="225" y="275"/>
                  <a:pt x="222" y="272"/>
                </a:cubicBezTo>
                <a:cubicBezTo>
                  <a:pt x="220" y="269"/>
                  <a:pt x="218" y="265"/>
                  <a:pt x="218" y="260"/>
                </a:cubicBezTo>
                <a:cubicBezTo>
                  <a:pt x="218" y="255"/>
                  <a:pt x="220" y="251"/>
                  <a:pt x="224" y="248"/>
                </a:cubicBezTo>
                <a:close/>
                <a:moveTo>
                  <a:pt x="181" y="181"/>
                </a:moveTo>
                <a:cubicBezTo>
                  <a:pt x="384" y="181"/>
                  <a:pt x="384" y="181"/>
                  <a:pt x="384" y="181"/>
                </a:cubicBezTo>
                <a:cubicBezTo>
                  <a:pt x="384" y="288"/>
                  <a:pt x="384" y="288"/>
                  <a:pt x="384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2" y="207"/>
                  <a:pt x="358" y="202"/>
                  <a:pt x="352" y="202"/>
                </a:cubicBezTo>
                <a:cubicBezTo>
                  <a:pt x="181" y="202"/>
                  <a:pt x="181" y="202"/>
                  <a:pt x="181" y="202"/>
                </a:cubicBezTo>
                <a:lnTo>
                  <a:pt x="181" y="181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98"/>
                </a:moveTo>
                <a:cubicBezTo>
                  <a:pt x="405" y="304"/>
                  <a:pt x="400" y="309"/>
                  <a:pt x="394" y="309"/>
                </a:cubicBezTo>
                <a:cubicBezTo>
                  <a:pt x="362" y="309"/>
                  <a:pt x="362" y="309"/>
                  <a:pt x="362" y="309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2" y="347"/>
                  <a:pt x="358" y="352"/>
                  <a:pt x="352" y="352"/>
                </a:cubicBezTo>
                <a:cubicBezTo>
                  <a:pt x="128" y="352"/>
                  <a:pt x="128" y="352"/>
                  <a:pt x="128" y="352"/>
                </a:cubicBezTo>
                <a:cubicBezTo>
                  <a:pt x="122" y="352"/>
                  <a:pt x="117" y="347"/>
                  <a:pt x="117" y="341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117" y="207"/>
                  <a:pt x="122" y="202"/>
                  <a:pt x="128" y="202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60" y="170"/>
                  <a:pt x="160" y="170"/>
                  <a:pt x="160" y="170"/>
                </a:cubicBezTo>
                <a:cubicBezTo>
                  <a:pt x="160" y="164"/>
                  <a:pt x="164" y="160"/>
                  <a:pt x="170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64"/>
                  <a:pt x="405" y="170"/>
                </a:cubicBezTo>
                <a:lnTo>
                  <a:pt x="405" y="298"/>
                </a:lnTo>
                <a:close/>
              </a:path>
            </a:pathLst>
          </a:custGeom>
          <a:solidFill>
            <a:srgbClr val="DDEF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2" name="Freeform 537">
            <a:extLst>
              <a:ext uri="{FF2B5EF4-FFF2-40B4-BE49-F238E27FC236}">
                <a16:creationId xmlns:a16="http://schemas.microsoft.com/office/drawing/2014/main" id="{43448CE8-22C9-2E4E-AC25-00E90D6812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3054" y="2500892"/>
            <a:ext cx="432000" cy="432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4 w 512"/>
              <a:gd name="T11" fmla="*/ 384 h 512"/>
              <a:gd name="T12" fmla="*/ 384 w 512"/>
              <a:gd name="T13" fmla="*/ 394 h 512"/>
              <a:gd name="T14" fmla="*/ 128 w 512"/>
              <a:gd name="T15" fmla="*/ 394 h 512"/>
              <a:gd name="T16" fmla="*/ 117 w 512"/>
              <a:gd name="T17" fmla="*/ 384 h 512"/>
              <a:gd name="T18" fmla="*/ 117 w 512"/>
              <a:gd name="T19" fmla="*/ 128 h 512"/>
              <a:gd name="T20" fmla="*/ 128 w 512"/>
              <a:gd name="T21" fmla="*/ 117 h 512"/>
              <a:gd name="T22" fmla="*/ 245 w 512"/>
              <a:gd name="T23" fmla="*/ 117 h 512"/>
              <a:gd name="T24" fmla="*/ 256 w 512"/>
              <a:gd name="T25" fmla="*/ 128 h 512"/>
              <a:gd name="T26" fmla="*/ 245 w 512"/>
              <a:gd name="T27" fmla="*/ 138 h 512"/>
              <a:gd name="T28" fmla="*/ 138 w 512"/>
              <a:gd name="T29" fmla="*/ 138 h 512"/>
              <a:gd name="T30" fmla="*/ 138 w 512"/>
              <a:gd name="T31" fmla="*/ 373 h 512"/>
              <a:gd name="T32" fmla="*/ 373 w 512"/>
              <a:gd name="T33" fmla="*/ 373 h 512"/>
              <a:gd name="T34" fmla="*/ 373 w 512"/>
              <a:gd name="T35" fmla="*/ 266 h 512"/>
              <a:gd name="T36" fmla="*/ 384 w 512"/>
              <a:gd name="T37" fmla="*/ 256 h 512"/>
              <a:gd name="T38" fmla="*/ 394 w 512"/>
              <a:gd name="T39" fmla="*/ 266 h 512"/>
              <a:gd name="T40" fmla="*/ 394 w 512"/>
              <a:gd name="T41" fmla="*/ 384 h 512"/>
              <a:gd name="T42" fmla="*/ 394 w 512"/>
              <a:gd name="T43" fmla="*/ 213 h 512"/>
              <a:gd name="T44" fmla="*/ 384 w 512"/>
              <a:gd name="T45" fmla="*/ 224 h 512"/>
              <a:gd name="T46" fmla="*/ 373 w 512"/>
              <a:gd name="T47" fmla="*/ 213 h 512"/>
              <a:gd name="T48" fmla="*/ 373 w 512"/>
              <a:gd name="T49" fmla="*/ 153 h 512"/>
              <a:gd name="T50" fmla="*/ 263 w 512"/>
              <a:gd name="T51" fmla="*/ 263 h 512"/>
              <a:gd name="T52" fmla="*/ 256 w 512"/>
              <a:gd name="T53" fmla="*/ 266 h 512"/>
              <a:gd name="T54" fmla="*/ 248 w 512"/>
              <a:gd name="T55" fmla="*/ 263 h 512"/>
              <a:gd name="T56" fmla="*/ 248 w 512"/>
              <a:gd name="T57" fmla="*/ 248 h 512"/>
              <a:gd name="T58" fmla="*/ 358 w 512"/>
              <a:gd name="T59" fmla="*/ 138 h 512"/>
              <a:gd name="T60" fmla="*/ 298 w 512"/>
              <a:gd name="T61" fmla="*/ 138 h 512"/>
              <a:gd name="T62" fmla="*/ 288 w 512"/>
              <a:gd name="T63" fmla="*/ 128 h 512"/>
              <a:gd name="T64" fmla="*/ 298 w 512"/>
              <a:gd name="T65" fmla="*/ 117 h 512"/>
              <a:gd name="T66" fmla="*/ 384 w 512"/>
              <a:gd name="T67" fmla="*/ 117 h 512"/>
              <a:gd name="T68" fmla="*/ 388 w 512"/>
              <a:gd name="T69" fmla="*/ 118 h 512"/>
              <a:gd name="T70" fmla="*/ 394 w 512"/>
              <a:gd name="T71" fmla="*/ 124 h 512"/>
              <a:gd name="T72" fmla="*/ 394 w 512"/>
              <a:gd name="T73" fmla="*/ 128 h 512"/>
              <a:gd name="T74" fmla="*/ 394 w 512"/>
              <a:gd name="T7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51" y="117"/>
                  <a:pt x="256" y="122"/>
                  <a:pt x="256" y="128"/>
                </a:cubicBezTo>
                <a:cubicBezTo>
                  <a:pt x="256" y="134"/>
                  <a:pt x="251" y="138"/>
                  <a:pt x="245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373" y="260"/>
                  <a:pt x="378" y="256"/>
                  <a:pt x="384" y="256"/>
                </a:cubicBezTo>
                <a:cubicBezTo>
                  <a:pt x="390" y="256"/>
                  <a:pt x="394" y="260"/>
                  <a:pt x="394" y="266"/>
                </a:cubicBezTo>
                <a:lnTo>
                  <a:pt x="394" y="384"/>
                </a:lnTo>
                <a:close/>
                <a:moveTo>
                  <a:pt x="394" y="213"/>
                </a:moveTo>
                <a:cubicBezTo>
                  <a:pt x="394" y="219"/>
                  <a:pt x="390" y="224"/>
                  <a:pt x="384" y="224"/>
                </a:cubicBezTo>
                <a:cubicBezTo>
                  <a:pt x="378" y="224"/>
                  <a:pt x="373" y="219"/>
                  <a:pt x="373" y="213"/>
                </a:cubicBezTo>
                <a:cubicBezTo>
                  <a:pt x="373" y="153"/>
                  <a:pt x="373" y="153"/>
                  <a:pt x="373" y="153"/>
                </a:cubicBezTo>
                <a:cubicBezTo>
                  <a:pt x="263" y="263"/>
                  <a:pt x="263" y="263"/>
                  <a:pt x="263" y="263"/>
                </a:cubicBezTo>
                <a:cubicBezTo>
                  <a:pt x="261" y="265"/>
                  <a:pt x="258" y="266"/>
                  <a:pt x="256" y="266"/>
                </a:cubicBezTo>
                <a:cubicBezTo>
                  <a:pt x="253" y="266"/>
                  <a:pt x="250" y="265"/>
                  <a:pt x="248" y="263"/>
                </a:cubicBezTo>
                <a:cubicBezTo>
                  <a:pt x="244" y="259"/>
                  <a:pt x="244" y="252"/>
                  <a:pt x="248" y="248"/>
                </a:cubicBezTo>
                <a:cubicBezTo>
                  <a:pt x="358" y="138"/>
                  <a:pt x="358" y="138"/>
                  <a:pt x="358" y="138"/>
                </a:cubicBezTo>
                <a:cubicBezTo>
                  <a:pt x="298" y="138"/>
                  <a:pt x="298" y="138"/>
                  <a:pt x="298" y="138"/>
                </a:cubicBezTo>
                <a:cubicBezTo>
                  <a:pt x="292" y="138"/>
                  <a:pt x="288" y="134"/>
                  <a:pt x="288" y="128"/>
                </a:cubicBezTo>
                <a:cubicBezTo>
                  <a:pt x="288" y="122"/>
                  <a:pt x="292" y="117"/>
                  <a:pt x="298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85" y="117"/>
                  <a:pt x="386" y="117"/>
                  <a:pt x="388" y="118"/>
                </a:cubicBezTo>
                <a:cubicBezTo>
                  <a:pt x="390" y="119"/>
                  <a:pt x="392" y="121"/>
                  <a:pt x="394" y="124"/>
                </a:cubicBezTo>
                <a:cubicBezTo>
                  <a:pt x="394" y="125"/>
                  <a:pt x="394" y="126"/>
                  <a:pt x="394" y="128"/>
                </a:cubicBezTo>
                <a:lnTo>
                  <a:pt x="394" y="213"/>
                </a:lnTo>
                <a:close/>
              </a:path>
            </a:pathLst>
          </a:custGeom>
          <a:solidFill>
            <a:srgbClr val="DDEF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3" name="Freeform 806">
            <a:extLst>
              <a:ext uri="{FF2B5EF4-FFF2-40B4-BE49-F238E27FC236}">
                <a16:creationId xmlns:a16="http://schemas.microsoft.com/office/drawing/2014/main" id="{8E44E30D-D81B-EB4B-A462-243C1B97CB8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1852" y="3178946"/>
            <a:ext cx="432000" cy="432000"/>
          </a:xfrm>
          <a:custGeom>
            <a:avLst/>
            <a:gdLst>
              <a:gd name="T0" fmla="*/ 275 w 512"/>
              <a:gd name="T1" fmla="*/ 288 h 512"/>
              <a:gd name="T2" fmla="*/ 254 w 512"/>
              <a:gd name="T3" fmla="*/ 202 h 512"/>
              <a:gd name="T4" fmla="*/ 256 w 512"/>
              <a:gd name="T5" fmla="*/ 138 h 512"/>
              <a:gd name="T6" fmla="*/ 256 w 512"/>
              <a:gd name="T7" fmla="*/ 117 h 512"/>
              <a:gd name="T8" fmla="*/ 256 w 512"/>
              <a:gd name="T9" fmla="*/ 138 h 512"/>
              <a:gd name="T10" fmla="*/ 160 w 512"/>
              <a:gd name="T11" fmla="*/ 128 h 512"/>
              <a:gd name="T12" fmla="*/ 138 w 512"/>
              <a:gd name="T13" fmla="*/ 128 h 512"/>
              <a:gd name="T14" fmla="*/ 147 w 512"/>
              <a:gd name="T15" fmla="*/ 202 h 512"/>
              <a:gd name="T16" fmla="*/ 168 w 512"/>
              <a:gd name="T17" fmla="*/ 288 h 512"/>
              <a:gd name="T18" fmla="*/ 147 w 512"/>
              <a:gd name="T19" fmla="*/ 202 h 512"/>
              <a:gd name="T20" fmla="*/ 384 w 512"/>
              <a:gd name="T21" fmla="*/ 266 h 512"/>
              <a:gd name="T22" fmla="*/ 341 w 512"/>
              <a:gd name="T23" fmla="*/ 202 h 512"/>
              <a:gd name="T24" fmla="*/ 362 w 512"/>
              <a:gd name="T25" fmla="*/ 138 h 512"/>
              <a:gd name="T26" fmla="*/ 362 w 512"/>
              <a:gd name="T27" fmla="*/ 117 h 512"/>
              <a:gd name="T28" fmla="*/ 362 w 512"/>
              <a:gd name="T29" fmla="*/ 138 h 512"/>
              <a:gd name="T30" fmla="*/ 256 w 512"/>
              <a:gd name="T31" fmla="*/ 512 h 512"/>
              <a:gd name="T32" fmla="*/ 256 w 512"/>
              <a:gd name="T33" fmla="*/ 0 h 512"/>
              <a:gd name="T34" fmla="*/ 330 w 512"/>
              <a:gd name="T35" fmla="*/ 128 h 512"/>
              <a:gd name="T36" fmla="*/ 394 w 512"/>
              <a:gd name="T37" fmla="*/ 128 h 512"/>
              <a:gd name="T38" fmla="*/ 330 w 512"/>
              <a:gd name="T39" fmla="*/ 128 h 512"/>
              <a:gd name="T40" fmla="*/ 256 w 512"/>
              <a:gd name="T41" fmla="*/ 160 h 512"/>
              <a:gd name="T42" fmla="*/ 256 w 512"/>
              <a:gd name="T43" fmla="*/ 96 h 512"/>
              <a:gd name="T44" fmla="*/ 117 w 512"/>
              <a:gd name="T45" fmla="*/ 128 h 512"/>
              <a:gd name="T46" fmla="*/ 181 w 512"/>
              <a:gd name="T47" fmla="*/ 128 h 512"/>
              <a:gd name="T48" fmla="*/ 117 w 512"/>
              <a:gd name="T49" fmla="*/ 128 h 512"/>
              <a:gd name="T50" fmla="*/ 170 w 512"/>
              <a:gd name="T51" fmla="*/ 190 h 512"/>
              <a:gd name="T52" fmla="*/ 138 w 512"/>
              <a:gd name="T53" fmla="*/ 181 h 512"/>
              <a:gd name="T54" fmla="*/ 107 w 512"/>
              <a:gd name="T55" fmla="*/ 296 h 512"/>
              <a:gd name="T56" fmla="*/ 117 w 512"/>
              <a:gd name="T57" fmla="*/ 309 h 512"/>
              <a:gd name="T58" fmla="*/ 128 w 512"/>
              <a:gd name="T59" fmla="*/ 394 h 512"/>
              <a:gd name="T60" fmla="*/ 138 w 512"/>
              <a:gd name="T61" fmla="*/ 309 h 512"/>
              <a:gd name="T62" fmla="*/ 160 w 512"/>
              <a:gd name="T63" fmla="*/ 384 h 512"/>
              <a:gd name="T64" fmla="*/ 181 w 512"/>
              <a:gd name="T65" fmla="*/ 384 h 512"/>
              <a:gd name="T66" fmla="*/ 189 w 512"/>
              <a:gd name="T67" fmla="*/ 305 h 512"/>
              <a:gd name="T68" fmla="*/ 298 w 512"/>
              <a:gd name="T69" fmla="*/ 296 h 512"/>
              <a:gd name="T70" fmla="*/ 266 w 512"/>
              <a:gd name="T71" fmla="*/ 181 h 512"/>
              <a:gd name="T72" fmla="*/ 235 w 512"/>
              <a:gd name="T73" fmla="*/ 190 h 512"/>
              <a:gd name="T74" fmla="*/ 215 w 512"/>
              <a:gd name="T75" fmla="*/ 305 h 512"/>
              <a:gd name="T76" fmla="*/ 224 w 512"/>
              <a:gd name="T77" fmla="*/ 384 h 512"/>
              <a:gd name="T78" fmla="*/ 245 w 512"/>
              <a:gd name="T79" fmla="*/ 384 h 512"/>
              <a:gd name="T80" fmla="*/ 266 w 512"/>
              <a:gd name="T81" fmla="*/ 309 h 512"/>
              <a:gd name="T82" fmla="*/ 277 w 512"/>
              <a:gd name="T83" fmla="*/ 394 h 512"/>
              <a:gd name="T84" fmla="*/ 288 w 512"/>
              <a:gd name="T85" fmla="*/ 309 h 512"/>
              <a:gd name="T86" fmla="*/ 298 w 512"/>
              <a:gd name="T87" fmla="*/ 296 h 512"/>
              <a:gd name="T88" fmla="*/ 394 w 512"/>
              <a:gd name="T89" fmla="*/ 181 h 512"/>
              <a:gd name="T90" fmla="*/ 320 w 512"/>
              <a:gd name="T91" fmla="*/ 192 h 512"/>
              <a:gd name="T92" fmla="*/ 330 w 512"/>
              <a:gd name="T93" fmla="*/ 288 h 512"/>
              <a:gd name="T94" fmla="*/ 341 w 512"/>
              <a:gd name="T95" fmla="*/ 394 h 512"/>
              <a:gd name="T96" fmla="*/ 352 w 512"/>
              <a:gd name="T97" fmla="*/ 288 h 512"/>
              <a:gd name="T98" fmla="*/ 373 w 512"/>
              <a:gd name="T99" fmla="*/ 384 h 512"/>
              <a:gd name="T100" fmla="*/ 394 w 512"/>
              <a:gd name="T101" fmla="*/ 384 h 512"/>
              <a:gd name="T102" fmla="*/ 405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58" y="202"/>
                </a:moveTo>
                <a:cubicBezTo>
                  <a:pt x="275" y="288"/>
                  <a:pt x="275" y="288"/>
                  <a:pt x="275" y="288"/>
                </a:cubicBezTo>
                <a:cubicBezTo>
                  <a:pt x="237" y="288"/>
                  <a:pt x="237" y="288"/>
                  <a:pt x="237" y="288"/>
                </a:cubicBezTo>
                <a:cubicBezTo>
                  <a:pt x="254" y="202"/>
                  <a:pt x="254" y="202"/>
                  <a:pt x="254" y="202"/>
                </a:cubicBezTo>
                <a:lnTo>
                  <a:pt x="258" y="202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  <a:moveTo>
                  <a:pt x="149" y="138"/>
                </a:moveTo>
                <a:cubicBezTo>
                  <a:pt x="155" y="138"/>
                  <a:pt x="160" y="134"/>
                  <a:pt x="160" y="128"/>
                </a:cubicBezTo>
                <a:cubicBezTo>
                  <a:pt x="160" y="122"/>
                  <a:pt x="155" y="117"/>
                  <a:pt x="149" y="117"/>
                </a:cubicBezTo>
                <a:cubicBezTo>
                  <a:pt x="143" y="117"/>
                  <a:pt x="138" y="122"/>
                  <a:pt x="138" y="128"/>
                </a:cubicBezTo>
                <a:cubicBezTo>
                  <a:pt x="138" y="134"/>
                  <a:pt x="143" y="138"/>
                  <a:pt x="149" y="138"/>
                </a:cubicBezTo>
                <a:close/>
                <a:moveTo>
                  <a:pt x="147" y="202"/>
                </a:moveTo>
                <a:cubicBezTo>
                  <a:pt x="130" y="288"/>
                  <a:pt x="130" y="288"/>
                  <a:pt x="130" y="288"/>
                </a:cubicBezTo>
                <a:cubicBezTo>
                  <a:pt x="168" y="288"/>
                  <a:pt x="168" y="288"/>
                  <a:pt x="168" y="288"/>
                </a:cubicBezTo>
                <a:cubicBezTo>
                  <a:pt x="151" y="202"/>
                  <a:pt x="151" y="202"/>
                  <a:pt x="151" y="202"/>
                </a:cubicBezTo>
                <a:lnTo>
                  <a:pt x="147" y="202"/>
                </a:lnTo>
                <a:close/>
                <a:moveTo>
                  <a:pt x="341" y="266"/>
                </a:moveTo>
                <a:cubicBezTo>
                  <a:pt x="384" y="266"/>
                  <a:pt x="384" y="266"/>
                  <a:pt x="384" y="266"/>
                </a:cubicBezTo>
                <a:cubicBezTo>
                  <a:pt x="384" y="202"/>
                  <a:pt x="384" y="202"/>
                  <a:pt x="384" y="202"/>
                </a:cubicBezTo>
                <a:cubicBezTo>
                  <a:pt x="341" y="202"/>
                  <a:pt x="341" y="202"/>
                  <a:pt x="341" y="202"/>
                </a:cubicBezTo>
                <a:lnTo>
                  <a:pt x="341" y="266"/>
                </a:lnTo>
                <a:close/>
                <a:moveTo>
                  <a:pt x="362" y="138"/>
                </a:moveTo>
                <a:cubicBezTo>
                  <a:pt x="368" y="138"/>
                  <a:pt x="373" y="134"/>
                  <a:pt x="373" y="128"/>
                </a:cubicBezTo>
                <a:cubicBezTo>
                  <a:pt x="373" y="122"/>
                  <a:pt x="368" y="117"/>
                  <a:pt x="362" y="117"/>
                </a:cubicBezTo>
                <a:cubicBezTo>
                  <a:pt x="356" y="117"/>
                  <a:pt x="352" y="122"/>
                  <a:pt x="352" y="128"/>
                </a:cubicBezTo>
                <a:cubicBezTo>
                  <a:pt x="352" y="134"/>
                  <a:pt x="356" y="138"/>
                  <a:pt x="362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28"/>
                </a:moveTo>
                <a:cubicBezTo>
                  <a:pt x="330" y="145"/>
                  <a:pt x="345" y="160"/>
                  <a:pt x="362" y="160"/>
                </a:cubicBezTo>
                <a:cubicBezTo>
                  <a:pt x="380" y="160"/>
                  <a:pt x="394" y="145"/>
                  <a:pt x="394" y="128"/>
                </a:cubicBezTo>
                <a:cubicBezTo>
                  <a:pt x="394" y="110"/>
                  <a:pt x="380" y="96"/>
                  <a:pt x="362" y="96"/>
                </a:cubicBezTo>
                <a:cubicBezTo>
                  <a:pt x="345" y="96"/>
                  <a:pt x="330" y="110"/>
                  <a:pt x="330" y="128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117" y="128"/>
                </a:moveTo>
                <a:cubicBezTo>
                  <a:pt x="117" y="145"/>
                  <a:pt x="131" y="160"/>
                  <a:pt x="149" y="160"/>
                </a:cubicBezTo>
                <a:cubicBezTo>
                  <a:pt x="167" y="160"/>
                  <a:pt x="181" y="145"/>
                  <a:pt x="181" y="128"/>
                </a:cubicBezTo>
                <a:cubicBezTo>
                  <a:pt x="181" y="110"/>
                  <a:pt x="167" y="96"/>
                  <a:pt x="149" y="96"/>
                </a:cubicBezTo>
                <a:cubicBezTo>
                  <a:pt x="131" y="96"/>
                  <a:pt x="117" y="110"/>
                  <a:pt x="117" y="128"/>
                </a:cubicBezTo>
                <a:close/>
                <a:moveTo>
                  <a:pt x="191" y="296"/>
                </a:moveTo>
                <a:cubicBezTo>
                  <a:pt x="170" y="190"/>
                  <a:pt x="170" y="190"/>
                  <a:pt x="170" y="190"/>
                </a:cubicBezTo>
                <a:cubicBezTo>
                  <a:pt x="169" y="185"/>
                  <a:pt x="165" y="181"/>
                  <a:pt x="160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3" y="181"/>
                  <a:pt x="129" y="185"/>
                  <a:pt x="128" y="190"/>
                </a:cubicBezTo>
                <a:cubicBezTo>
                  <a:pt x="107" y="296"/>
                  <a:pt x="107" y="296"/>
                  <a:pt x="107" y="296"/>
                </a:cubicBezTo>
                <a:cubicBezTo>
                  <a:pt x="106" y="299"/>
                  <a:pt x="107" y="303"/>
                  <a:pt x="109" y="305"/>
                </a:cubicBezTo>
                <a:cubicBezTo>
                  <a:pt x="111" y="308"/>
                  <a:pt x="114" y="309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34" y="394"/>
                  <a:pt x="138" y="390"/>
                  <a:pt x="138" y="384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60" y="309"/>
                  <a:pt x="160" y="309"/>
                  <a:pt x="160" y="309"/>
                </a:cubicBezTo>
                <a:cubicBezTo>
                  <a:pt x="160" y="384"/>
                  <a:pt x="160" y="384"/>
                  <a:pt x="160" y="384"/>
                </a:cubicBezTo>
                <a:cubicBezTo>
                  <a:pt x="160" y="390"/>
                  <a:pt x="164" y="394"/>
                  <a:pt x="170" y="394"/>
                </a:cubicBezTo>
                <a:cubicBezTo>
                  <a:pt x="176" y="394"/>
                  <a:pt x="181" y="390"/>
                  <a:pt x="181" y="384"/>
                </a:cubicBezTo>
                <a:cubicBezTo>
                  <a:pt x="181" y="309"/>
                  <a:pt x="181" y="309"/>
                  <a:pt x="181" y="309"/>
                </a:cubicBezTo>
                <a:cubicBezTo>
                  <a:pt x="184" y="309"/>
                  <a:pt x="187" y="308"/>
                  <a:pt x="189" y="305"/>
                </a:cubicBezTo>
                <a:cubicBezTo>
                  <a:pt x="191" y="303"/>
                  <a:pt x="192" y="299"/>
                  <a:pt x="191" y="296"/>
                </a:cubicBezTo>
                <a:close/>
                <a:moveTo>
                  <a:pt x="298" y="296"/>
                </a:moveTo>
                <a:cubicBezTo>
                  <a:pt x="277" y="190"/>
                  <a:pt x="277" y="190"/>
                  <a:pt x="277" y="190"/>
                </a:cubicBezTo>
                <a:cubicBezTo>
                  <a:pt x="276" y="185"/>
                  <a:pt x="271" y="181"/>
                  <a:pt x="266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0" y="181"/>
                  <a:pt x="236" y="185"/>
                  <a:pt x="235" y="190"/>
                </a:cubicBezTo>
                <a:cubicBezTo>
                  <a:pt x="213" y="296"/>
                  <a:pt x="213" y="296"/>
                  <a:pt x="213" y="296"/>
                </a:cubicBezTo>
                <a:cubicBezTo>
                  <a:pt x="213" y="299"/>
                  <a:pt x="213" y="303"/>
                  <a:pt x="215" y="305"/>
                </a:cubicBezTo>
                <a:cubicBezTo>
                  <a:pt x="217" y="308"/>
                  <a:pt x="220" y="309"/>
                  <a:pt x="224" y="309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24" y="390"/>
                  <a:pt x="228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283" y="394"/>
                  <a:pt x="288" y="390"/>
                  <a:pt x="288" y="384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91" y="309"/>
                  <a:pt x="294" y="308"/>
                  <a:pt x="296" y="305"/>
                </a:cubicBezTo>
                <a:cubicBezTo>
                  <a:pt x="298" y="303"/>
                  <a:pt x="299" y="299"/>
                  <a:pt x="298" y="296"/>
                </a:cubicBezTo>
                <a:close/>
                <a:moveTo>
                  <a:pt x="405" y="192"/>
                </a:moveTo>
                <a:cubicBezTo>
                  <a:pt x="405" y="186"/>
                  <a:pt x="400" y="181"/>
                  <a:pt x="394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24" y="181"/>
                  <a:pt x="320" y="186"/>
                  <a:pt x="320" y="192"/>
                </a:cubicBezTo>
                <a:cubicBezTo>
                  <a:pt x="320" y="277"/>
                  <a:pt x="320" y="277"/>
                  <a:pt x="320" y="277"/>
                </a:cubicBezTo>
                <a:cubicBezTo>
                  <a:pt x="320" y="283"/>
                  <a:pt x="324" y="288"/>
                  <a:pt x="330" y="288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384"/>
                  <a:pt x="373" y="384"/>
                  <a:pt x="373" y="384"/>
                </a:cubicBezTo>
                <a:cubicBezTo>
                  <a:pt x="373" y="390"/>
                  <a:pt x="378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288"/>
                  <a:pt x="394" y="288"/>
                  <a:pt x="394" y="288"/>
                </a:cubicBezTo>
                <a:cubicBezTo>
                  <a:pt x="400" y="288"/>
                  <a:pt x="405" y="283"/>
                  <a:pt x="405" y="277"/>
                </a:cubicBezTo>
                <a:lnTo>
                  <a:pt x="405" y="192"/>
                </a:lnTo>
                <a:close/>
              </a:path>
            </a:pathLst>
          </a:custGeom>
          <a:solidFill>
            <a:srgbClr val="DDEF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4" name="Freeform 26">
            <a:extLst>
              <a:ext uri="{FF2B5EF4-FFF2-40B4-BE49-F238E27FC236}">
                <a16:creationId xmlns:a16="http://schemas.microsoft.com/office/drawing/2014/main" id="{AE95AD32-6B85-B642-A87B-3BADB382851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1021" y="4509495"/>
            <a:ext cx="432000" cy="432000"/>
          </a:xfrm>
          <a:custGeom>
            <a:avLst/>
            <a:gdLst>
              <a:gd name="T0" fmla="*/ 358 w 512"/>
              <a:gd name="T1" fmla="*/ 227 h 512"/>
              <a:gd name="T2" fmla="*/ 367 w 512"/>
              <a:gd name="T3" fmla="*/ 174 h 512"/>
              <a:gd name="T4" fmla="*/ 366 w 512"/>
              <a:gd name="T5" fmla="*/ 172 h 512"/>
              <a:gd name="T6" fmla="*/ 338 w 512"/>
              <a:gd name="T7" fmla="*/ 145 h 512"/>
              <a:gd name="T8" fmla="*/ 308 w 512"/>
              <a:gd name="T9" fmla="*/ 163 h 512"/>
              <a:gd name="T10" fmla="*/ 277 w 512"/>
              <a:gd name="T11" fmla="*/ 119 h 512"/>
              <a:gd name="T12" fmla="*/ 234 w 512"/>
              <a:gd name="T13" fmla="*/ 119 h 512"/>
              <a:gd name="T14" fmla="*/ 204 w 512"/>
              <a:gd name="T15" fmla="*/ 163 h 512"/>
              <a:gd name="T16" fmla="*/ 173 w 512"/>
              <a:gd name="T17" fmla="*/ 145 h 512"/>
              <a:gd name="T18" fmla="*/ 161 w 512"/>
              <a:gd name="T19" fmla="*/ 191 h 512"/>
              <a:gd name="T20" fmla="*/ 143 w 512"/>
              <a:gd name="T21" fmla="*/ 234 h 512"/>
              <a:gd name="T22" fmla="*/ 117 w 512"/>
              <a:gd name="T23" fmla="*/ 256 h 512"/>
              <a:gd name="T24" fmla="*/ 143 w 512"/>
              <a:gd name="T25" fmla="*/ 277 h 512"/>
              <a:gd name="T26" fmla="*/ 161 w 512"/>
              <a:gd name="T27" fmla="*/ 320 h 512"/>
              <a:gd name="T28" fmla="*/ 145 w 512"/>
              <a:gd name="T29" fmla="*/ 339 h 512"/>
              <a:gd name="T30" fmla="*/ 172 w 512"/>
              <a:gd name="T31" fmla="*/ 366 h 512"/>
              <a:gd name="T32" fmla="*/ 191 w 512"/>
              <a:gd name="T33" fmla="*/ 351 h 512"/>
              <a:gd name="T34" fmla="*/ 234 w 512"/>
              <a:gd name="T35" fmla="*/ 368 h 512"/>
              <a:gd name="T36" fmla="*/ 245 w 512"/>
              <a:gd name="T37" fmla="*/ 394 h 512"/>
              <a:gd name="T38" fmla="*/ 267 w 512"/>
              <a:gd name="T39" fmla="*/ 394 h 512"/>
              <a:gd name="T40" fmla="*/ 285 w 512"/>
              <a:gd name="T41" fmla="*/ 358 h 512"/>
              <a:gd name="T42" fmla="*/ 337 w 512"/>
              <a:gd name="T43" fmla="*/ 368 h 512"/>
              <a:gd name="T44" fmla="*/ 368 w 512"/>
              <a:gd name="T45" fmla="*/ 337 h 512"/>
              <a:gd name="T46" fmla="*/ 358 w 512"/>
              <a:gd name="T47" fmla="*/ 285 h 512"/>
              <a:gd name="T48" fmla="*/ 394 w 512"/>
              <a:gd name="T49" fmla="*/ 267 h 512"/>
              <a:gd name="T50" fmla="*/ 393 w 512"/>
              <a:gd name="T51" fmla="*/ 234 h 512"/>
              <a:gd name="T52" fmla="*/ 256 w 512"/>
              <a:gd name="T53" fmla="*/ 192 h 512"/>
              <a:gd name="T54" fmla="*/ 298 w 512"/>
              <a:gd name="T55" fmla="*/ 256 h 512"/>
              <a:gd name="T56" fmla="*/ 256 w 512"/>
              <a:gd name="T57" fmla="*/ 213 h 512"/>
              <a:gd name="T58" fmla="*/ 0 w 512"/>
              <a:gd name="T59" fmla="*/ 256 h 512"/>
              <a:gd name="T60" fmla="*/ 256 w 512"/>
              <a:gd name="T61" fmla="*/ 0 h 512"/>
              <a:gd name="T62" fmla="*/ 401 w 512"/>
              <a:gd name="T63" fmla="*/ 298 h 512"/>
              <a:gd name="T64" fmla="*/ 389 w 512"/>
              <a:gd name="T65" fmla="*/ 329 h 512"/>
              <a:gd name="T66" fmla="*/ 351 w 512"/>
              <a:gd name="T67" fmla="*/ 384 h 512"/>
              <a:gd name="T68" fmla="*/ 311 w 512"/>
              <a:gd name="T69" fmla="*/ 371 h 512"/>
              <a:gd name="T70" fmla="*/ 290 w 512"/>
              <a:gd name="T71" fmla="*/ 412 h 512"/>
              <a:gd name="T72" fmla="*/ 268 w 512"/>
              <a:gd name="T73" fmla="*/ 416 h 512"/>
              <a:gd name="T74" fmla="*/ 256 w 512"/>
              <a:gd name="T75" fmla="*/ 416 h 512"/>
              <a:gd name="T76" fmla="*/ 249 w 512"/>
              <a:gd name="T77" fmla="*/ 416 h 512"/>
              <a:gd name="T78" fmla="*/ 243 w 512"/>
              <a:gd name="T79" fmla="*/ 416 h 512"/>
              <a:gd name="T80" fmla="*/ 213 w 512"/>
              <a:gd name="T81" fmla="*/ 401 h 512"/>
              <a:gd name="T82" fmla="*/ 183 w 512"/>
              <a:gd name="T83" fmla="*/ 389 h 512"/>
              <a:gd name="T84" fmla="*/ 160 w 512"/>
              <a:gd name="T85" fmla="*/ 384 h 512"/>
              <a:gd name="T86" fmla="*/ 128 w 512"/>
              <a:gd name="T87" fmla="*/ 351 h 512"/>
              <a:gd name="T88" fmla="*/ 121 w 512"/>
              <a:gd name="T89" fmla="*/ 342 h 512"/>
              <a:gd name="T90" fmla="*/ 135 w 512"/>
              <a:gd name="T91" fmla="*/ 298 h 512"/>
              <a:gd name="T92" fmla="*/ 96 w 512"/>
              <a:gd name="T93" fmla="*/ 268 h 512"/>
              <a:gd name="T94" fmla="*/ 96 w 512"/>
              <a:gd name="T95" fmla="*/ 256 h 512"/>
              <a:gd name="T96" fmla="*/ 96 w 512"/>
              <a:gd name="T97" fmla="*/ 243 h 512"/>
              <a:gd name="T98" fmla="*/ 96 w 512"/>
              <a:gd name="T99" fmla="*/ 243 h 512"/>
              <a:gd name="T100" fmla="*/ 135 w 512"/>
              <a:gd name="T101" fmla="*/ 213 h 512"/>
              <a:gd name="T102" fmla="*/ 121 w 512"/>
              <a:gd name="T103" fmla="*/ 169 h 512"/>
              <a:gd name="T104" fmla="*/ 169 w 512"/>
              <a:gd name="T105" fmla="*/ 121 h 512"/>
              <a:gd name="T106" fmla="*/ 213 w 512"/>
              <a:gd name="T107" fmla="*/ 135 h 512"/>
              <a:gd name="T108" fmla="*/ 243 w 512"/>
              <a:gd name="T109" fmla="*/ 96 h 512"/>
              <a:gd name="T110" fmla="*/ 298 w 512"/>
              <a:gd name="T111" fmla="*/ 110 h 512"/>
              <a:gd name="T112" fmla="*/ 329 w 512"/>
              <a:gd name="T113" fmla="*/ 122 h 512"/>
              <a:gd name="T114" fmla="*/ 351 w 512"/>
              <a:gd name="T115" fmla="*/ 128 h 512"/>
              <a:gd name="T116" fmla="*/ 384 w 512"/>
              <a:gd name="T117" fmla="*/ 160 h 512"/>
              <a:gd name="T118" fmla="*/ 390 w 512"/>
              <a:gd name="T119" fmla="*/ 169 h 512"/>
              <a:gd name="T120" fmla="*/ 376 w 512"/>
              <a:gd name="T121" fmla="*/ 213 h 512"/>
              <a:gd name="T122" fmla="*/ 416 w 512"/>
              <a:gd name="T123" fmla="*/ 243 h 512"/>
              <a:gd name="T124" fmla="*/ 415 w 512"/>
              <a:gd name="T125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93" y="234"/>
                </a:moveTo>
                <a:cubicBezTo>
                  <a:pt x="368" y="234"/>
                  <a:pt x="368" y="234"/>
                  <a:pt x="368" y="234"/>
                </a:cubicBezTo>
                <a:cubicBezTo>
                  <a:pt x="364" y="234"/>
                  <a:pt x="359" y="231"/>
                  <a:pt x="358" y="227"/>
                </a:cubicBezTo>
                <a:cubicBezTo>
                  <a:pt x="356" y="219"/>
                  <a:pt x="353" y="211"/>
                  <a:pt x="349" y="204"/>
                </a:cubicBezTo>
                <a:cubicBezTo>
                  <a:pt x="346" y="200"/>
                  <a:pt x="347" y="194"/>
                  <a:pt x="351" y="191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6" y="173"/>
                  <a:pt x="366" y="173"/>
                  <a:pt x="366" y="173"/>
                </a:cubicBezTo>
                <a:cubicBezTo>
                  <a:pt x="366" y="173"/>
                  <a:pt x="366" y="172"/>
                  <a:pt x="366" y="172"/>
                </a:cubicBezTo>
                <a:cubicBezTo>
                  <a:pt x="366" y="172"/>
                  <a:pt x="366" y="172"/>
                  <a:pt x="366" y="172"/>
                </a:cubicBezTo>
                <a:cubicBezTo>
                  <a:pt x="358" y="162"/>
                  <a:pt x="349" y="153"/>
                  <a:pt x="340" y="146"/>
                </a:cubicBezTo>
                <a:cubicBezTo>
                  <a:pt x="340" y="146"/>
                  <a:pt x="340" y="146"/>
                  <a:pt x="339" y="145"/>
                </a:cubicBezTo>
                <a:cubicBezTo>
                  <a:pt x="339" y="145"/>
                  <a:pt x="339" y="145"/>
                  <a:pt x="338" y="145"/>
                </a:cubicBezTo>
                <a:cubicBezTo>
                  <a:pt x="337" y="144"/>
                  <a:pt x="337" y="144"/>
                  <a:pt x="337" y="14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17" y="164"/>
                  <a:pt x="312" y="165"/>
                  <a:pt x="308" y="163"/>
                </a:cubicBezTo>
                <a:cubicBezTo>
                  <a:pt x="300" y="159"/>
                  <a:pt x="293" y="155"/>
                  <a:pt x="285" y="153"/>
                </a:cubicBezTo>
                <a:cubicBezTo>
                  <a:pt x="280" y="152"/>
                  <a:pt x="277" y="148"/>
                  <a:pt x="277" y="143"/>
                </a:cubicBezTo>
                <a:cubicBezTo>
                  <a:pt x="277" y="119"/>
                  <a:pt x="277" y="119"/>
                  <a:pt x="277" y="119"/>
                </a:cubicBezTo>
                <a:cubicBezTo>
                  <a:pt x="274" y="118"/>
                  <a:pt x="270" y="118"/>
                  <a:pt x="267" y="118"/>
                </a:cubicBezTo>
                <a:cubicBezTo>
                  <a:pt x="259" y="117"/>
                  <a:pt x="252" y="117"/>
                  <a:pt x="245" y="118"/>
                </a:cubicBezTo>
                <a:cubicBezTo>
                  <a:pt x="241" y="118"/>
                  <a:pt x="238" y="118"/>
                  <a:pt x="234" y="119"/>
                </a:cubicBezTo>
                <a:cubicBezTo>
                  <a:pt x="234" y="143"/>
                  <a:pt x="234" y="143"/>
                  <a:pt x="234" y="143"/>
                </a:cubicBezTo>
                <a:cubicBezTo>
                  <a:pt x="234" y="148"/>
                  <a:pt x="231" y="152"/>
                  <a:pt x="227" y="153"/>
                </a:cubicBezTo>
                <a:cubicBezTo>
                  <a:pt x="219" y="155"/>
                  <a:pt x="211" y="159"/>
                  <a:pt x="204" y="163"/>
                </a:cubicBezTo>
                <a:cubicBezTo>
                  <a:pt x="200" y="165"/>
                  <a:pt x="194" y="164"/>
                  <a:pt x="191" y="161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174" y="144"/>
                  <a:pt x="173" y="144"/>
                  <a:pt x="173" y="145"/>
                </a:cubicBezTo>
                <a:cubicBezTo>
                  <a:pt x="162" y="153"/>
                  <a:pt x="153" y="162"/>
                  <a:pt x="145" y="173"/>
                </a:cubicBezTo>
                <a:cubicBezTo>
                  <a:pt x="144" y="173"/>
                  <a:pt x="144" y="174"/>
                  <a:pt x="144" y="174"/>
                </a:cubicBezTo>
                <a:cubicBezTo>
                  <a:pt x="161" y="191"/>
                  <a:pt x="161" y="191"/>
                  <a:pt x="161" y="191"/>
                </a:cubicBezTo>
                <a:cubicBezTo>
                  <a:pt x="164" y="194"/>
                  <a:pt x="165" y="200"/>
                  <a:pt x="163" y="204"/>
                </a:cubicBezTo>
                <a:cubicBezTo>
                  <a:pt x="159" y="211"/>
                  <a:pt x="155" y="219"/>
                  <a:pt x="153" y="227"/>
                </a:cubicBezTo>
                <a:cubicBezTo>
                  <a:pt x="152" y="231"/>
                  <a:pt x="148" y="234"/>
                  <a:pt x="143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8" y="238"/>
                  <a:pt x="118" y="241"/>
                  <a:pt x="118" y="245"/>
                </a:cubicBezTo>
                <a:cubicBezTo>
                  <a:pt x="117" y="248"/>
                  <a:pt x="117" y="252"/>
                  <a:pt x="117" y="256"/>
                </a:cubicBezTo>
                <a:cubicBezTo>
                  <a:pt x="117" y="259"/>
                  <a:pt x="117" y="263"/>
                  <a:pt x="118" y="267"/>
                </a:cubicBezTo>
                <a:cubicBezTo>
                  <a:pt x="118" y="270"/>
                  <a:pt x="118" y="274"/>
                  <a:pt x="119" y="277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8" y="277"/>
                  <a:pt x="152" y="280"/>
                  <a:pt x="153" y="285"/>
                </a:cubicBezTo>
                <a:cubicBezTo>
                  <a:pt x="155" y="293"/>
                  <a:pt x="159" y="300"/>
                  <a:pt x="163" y="308"/>
                </a:cubicBezTo>
                <a:cubicBezTo>
                  <a:pt x="165" y="312"/>
                  <a:pt x="164" y="317"/>
                  <a:pt x="161" y="320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45" y="338"/>
                  <a:pt x="145" y="338"/>
                  <a:pt x="145" y="338"/>
                </a:cubicBezTo>
                <a:cubicBezTo>
                  <a:pt x="145" y="339"/>
                  <a:pt x="145" y="339"/>
                  <a:pt x="145" y="339"/>
                </a:cubicBezTo>
                <a:cubicBezTo>
                  <a:pt x="145" y="339"/>
                  <a:pt x="146" y="340"/>
                  <a:pt x="146" y="340"/>
                </a:cubicBezTo>
                <a:cubicBezTo>
                  <a:pt x="153" y="349"/>
                  <a:pt x="162" y="358"/>
                  <a:pt x="172" y="366"/>
                </a:cubicBezTo>
                <a:cubicBezTo>
                  <a:pt x="172" y="366"/>
                  <a:pt x="172" y="366"/>
                  <a:pt x="172" y="366"/>
                </a:cubicBezTo>
                <a:cubicBezTo>
                  <a:pt x="172" y="366"/>
                  <a:pt x="173" y="366"/>
                  <a:pt x="173" y="367"/>
                </a:cubicBezTo>
                <a:cubicBezTo>
                  <a:pt x="174" y="367"/>
                  <a:pt x="174" y="367"/>
                  <a:pt x="174" y="367"/>
                </a:cubicBezTo>
                <a:cubicBezTo>
                  <a:pt x="191" y="351"/>
                  <a:pt x="191" y="351"/>
                  <a:pt x="191" y="351"/>
                </a:cubicBezTo>
                <a:cubicBezTo>
                  <a:pt x="194" y="347"/>
                  <a:pt x="200" y="346"/>
                  <a:pt x="204" y="349"/>
                </a:cubicBezTo>
                <a:cubicBezTo>
                  <a:pt x="211" y="353"/>
                  <a:pt x="219" y="356"/>
                  <a:pt x="227" y="358"/>
                </a:cubicBezTo>
                <a:cubicBezTo>
                  <a:pt x="231" y="359"/>
                  <a:pt x="234" y="364"/>
                  <a:pt x="234" y="368"/>
                </a:cubicBezTo>
                <a:cubicBezTo>
                  <a:pt x="234" y="393"/>
                  <a:pt x="234" y="393"/>
                  <a:pt x="234" y="393"/>
                </a:cubicBezTo>
                <a:cubicBezTo>
                  <a:pt x="238" y="393"/>
                  <a:pt x="241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52" y="394"/>
                  <a:pt x="259" y="395"/>
                  <a:pt x="267" y="394"/>
                </a:cubicBezTo>
                <a:cubicBezTo>
                  <a:pt x="270" y="394"/>
                  <a:pt x="274" y="393"/>
                  <a:pt x="277" y="393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4"/>
                  <a:pt x="280" y="359"/>
                  <a:pt x="285" y="358"/>
                </a:cubicBezTo>
                <a:cubicBezTo>
                  <a:pt x="293" y="356"/>
                  <a:pt x="300" y="353"/>
                  <a:pt x="308" y="349"/>
                </a:cubicBezTo>
                <a:cubicBezTo>
                  <a:pt x="312" y="346"/>
                  <a:pt x="317" y="347"/>
                  <a:pt x="320" y="351"/>
                </a:cubicBezTo>
                <a:cubicBezTo>
                  <a:pt x="337" y="368"/>
                  <a:pt x="337" y="368"/>
                  <a:pt x="337" y="368"/>
                </a:cubicBezTo>
                <a:cubicBezTo>
                  <a:pt x="338" y="367"/>
                  <a:pt x="338" y="367"/>
                  <a:pt x="339" y="367"/>
                </a:cubicBezTo>
                <a:cubicBezTo>
                  <a:pt x="349" y="359"/>
                  <a:pt x="359" y="349"/>
                  <a:pt x="367" y="339"/>
                </a:cubicBezTo>
                <a:cubicBezTo>
                  <a:pt x="367" y="338"/>
                  <a:pt x="367" y="338"/>
                  <a:pt x="368" y="337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47" y="317"/>
                  <a:pt x="346" y="312"/>
                  <a:pt x="349" y="308"/>
                </a:cubicBezTo>
                <a:cubicBezTo>
                  <a:pt x="353" y="300"/>
                  <a:pt x="356" y="293"/>
                  <a:pt x="358" y="285"/>
                </a:cubicBezTo>
                <a:cubicBezTo>
                  <a:pt x="359" y="280"/>
                  <a:pt x="364" y="277"/>
                  <a:pt x="368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93" y="274"/>
                  <a:pt x="393" y="270"/>
                  <a:pt x="394" y="267"/>
                </a:cubicBezTo>
                <a:cubicBezTo>
                  <a:pt x="394" y="263"/>
                  <a:pt x="394" y="259"/>
                  <a:pt x="394" y="256"/>
                </a:cubicBezTo>
                <a:cubicBezTo>
                  <a:pt x="394" y="252"/>
                  <a:pt x="394" y="248"/>
                  <a:pt x="394" y="245"/>
                </a:cubicBezTo>
                <a:cubicBezTo>
                  <a:pt x="393" y="241"/>
                  <a:pt x="393" y="238"/>
                  <a:pt x="393" y="234"/>
                </a:cubicBezTo>
                <a:close/>
                <a:moveTo>
                  <a:pt x="256" y="320"/>
                </a:moveTo>
                <a:cubicBezTo>
                  <a:pt x="220" y="320"/>
                  <a:pt x="192" y="291"/>
                  <a:pt x="192" y="256"/>
                </a:cubicBezTo>
                <a:cubicBezTo>
                  <a:pt x="192" y="220"/>
                  <a:pt x="220" y="192"/>
                  <a:pt x="256" y="192"/>
                </a:cubicBezTo>
                <a:cubicBezTo>
                  <a:pt x="291" y="192"/>
                  <a:pt x="320" y="220"/>
                  <a:pt x="320" y="256"/>
                </a:cubicBezTo>
                <a:cubicBezTo>
                  <a:pt x="320" y="291"/>
                  <a:pt x="291" y="320"/>
                  <a:pt x="256" y="320"/>
                </a:cubicBezTo>
                <a:close/>
                <a:moveTo>
                  <a:pt x="298" y="256"/>
                </a:move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8"/>
                </a:moveTo>
                <a:cubicBezTo>
                  <a:pt x="414" y="276"/>
                  <a:pt x="413" y="283"/>
                  <a:pt x="412" y="290"/>
                </a:cubicBezTo>
                <a:cubicBezTo>
                  <a:pt x="411" y="295"/>
                  <a:pt x="406" y="298"/>
                  <a:pt x="401" y="298"/>
                </a:cubicBezTo>
                <a:cubicBezTo>
                  <a:pt x="376" y="298"/>
                  <a:pt x="376" y="298"/>
                  <a:pt x="376" y="298"/>
                </a:cubicBezTo>
                <a:cubicBezTo>
                  <a:pt x="375" y="303"/>
                  <a:pt x="373" y="307"/>
                  <a:pt x="371" y="311"/>
                </a:cubicBezTo>
                <a:cubicBezTo>
                  <a:pt x="389" y="329"/>
                  <a:pt x="389" y="329"/>
                  <a:pt x="389" y="329"/>
                </a:cubicBezTo>
                <a:cubicBezTo>
                  <a:pt x="392" y="332"/>
                  <a:pt x="393" y="338"/>
                  <a:pt x="390" y="342"/>
                </a:cubicBezTo>
                <a:cubicBezTo>
                  <a:pt x="388" y="345"/>
                  <a:pt x="386" y="348"/>
                  <a:pt x="384" y="351"/>
                </a:cubicBezTo>
                <a:cubicBezTo>
                  <a:pt x="375" y="364"/>
                  <a:pt x="364" y="375"/>
                  <a:pt x="351" y="384"/>
                </a:cubicBezTo>
                <a:cubicBezTo>
                  <a:pt x="348" y="386"/>
                  <a:pt x="345" y="388"/>
                  <a:pt x="342" y="390"/>
                </a:cubicBezTo>
                <a:cubicBezTo>
                  <a:pt x="338" y="393"/>
                  <a:pt x="332" y="392"/>
                  <a:pt x="329" y="389"/>
                </a:cubicBezTo>
                <a:cubicBezTo>
                  <a:pt x="311" y="371"/>
                  <a:pt x="311" y="371"/>
                  <a:pt x="311" y="371"/>
                </a:cubicBezTo>
                <a:cubicBezTo>
                  <a:pt x="307" y="373"/>
                  <a:pt x="303" y="375"/>
                  <a:pt x="298" y="376"/>
                </a:cubicBezTo>
                <a:cubicBezTo>
                  <a:pt x="298" y="401"/>
                  <a:pt x="298" y="401"/>
                  <a:pt x="298" y="401"/>
                </a:cubicBezTo>
                <a:cubicBezTo>
                  <a:pt x="298" y="407"/>
                  <a:pt x="295" y="411"/>
                  <a:pt x="290" y="412"/>
                </a:cubicBezTo>
                <a:cubicBezTo>
                  <a:pt x="283" y="414"/>
                  <a:pt x="276" y="415"/>
                  <a:pt x="269" y="415"/>
                </a:cubicBezTo>
                <a:cubicBezTo>
                  <a:pt x="269" y="415"/>
                  <a:pt x="269" y="416"/>
                  <a:pt x="269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7" y="416"/>
                  <a:pt x="265" y="415"/>
                  <a:pt x="264" y="416"/>
                </a:cubicBezTo>
                <a:cubicBezTo>
                  <a:pt x="261" y="416"/>
                  <a:pt x="258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3" y="416"/>
                  <a:pt x="251" y="416"/>
                  <a:pt x="249" y="416"/>
                </a:cubicBezTo>
                <a:cubicBezTo>
                  <a:pt x="247" y="416"/>
                  <a:pt x="245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35" y="416"/>
                  <a:pt x="228" y="414"/>
                  <a:pt x="221" y="412"/>
                </a:cubicBezTo>
                <a:cubicBezTo>
                  <a:pt x="216" y="411"/>
                  <a:pt x="213" y="407"/>
                  <a:pt x="213" y="401"/>
                </a:cubicBezTo>
                <a:cubicBezTo>
                  <a:pt x="213" y="376"/>
                  <a:pt x="213" y="376"/>
                  <a:pt x="213" y="376"/>
                </a:cubicBezTo>
                <a:cubicBezTo>
                  <a:pt x="209" y="375"/>
                  <a:pt x="205" y="373"/>
                  <a:pt x="201" y="371"/>
                </a:cubicBezTo>
                <a:cubicBezTo>
                  <a:pt x="183" y="389"/>
                  <a:pt x="183" y="389"/>
                  <a:pt x="183" y="389"/>
                </a:cubicBezTo>
                <a:cubicBezTo>
                  <a:pt x="179" y="392"/>
                  <a:pt x="174" y="393"/>
                  <a:pt x="169" y="390"/>
                </a:cubicBezTo>
                <a:cubicBezTo>
                  <a:pt x="167" y="389"/>
                  <a:pt x="164" y="387"/>
                  <a:pt x="161" y="385"/>
                </a:cubicBezTo>
                <a:cubicBezTo>
                  <a:pt x="161" y="384"/>
                  <a:pt x="160" y="384"/>
                  <a:pt x="160" y="384"/>
                </a:cubicBezTo>
                <a:cubicBezTo>
                  <a:pt x="160" y="383"/>
                  <a:pt x="159" y="383"/>
                  <a:pt x="158" y="382"/>
                </a:cubicBezTo>
                <a:cubicBezTo>
                  <a:pt x="147" y="374"/>
                  <a:pt x="137" y="364"/>
                  <a:pt x="129" y="353"/>
                </a:cubicBezTo>
                <a:cubicBezTo>
                  <a:pt x="128" y="352"/>
                  <a:pt x="128" y="352"/>
                  <a:pt x="128" y="351"/>
                </a:cubicBezTo>
                <a:cubicBezTo>
                  <a:pt x="127" y="351"/>
                  <a:pt x="127" y="350"/>
                  <a:pt x="127" y="350"/>
                </a:cubicBezTo>
                <a:cubicBezTo>
                  <a:pt x="127" y="350"/>
                  <a:pt x="127" y="350"/>
                  <a:pt x="127" y="350"/>
                </a:cubicBezTo>
                <a:cubicBezTo>
                  <a:pt x="125" y="347"/>
                  <a:pt x="123" y="345"/>
                  <a:pt x="121" y="342"/>
                </a:cubicBezTo>
                <a:cubicBezTo>
                  <a:pt x="118" y="338"/>
                  <a:pt x="119" y="332"/>
                  <a:pt x="122" y="329"/>
                </a:cubicBezTo>
                <a:cubicBezTo>
                  <a:pt x="140" y="311"/>
                  <a:pt x="140" y="311"/>
                  <a:pt x="140" y="311"/>
                </a:cubicBezTo>
                <a:cubicBezTo>
                  <a:pt x="138" y="307"/>
                  <a:pt x="137" y="303"/>
                  <a:pt x="135" y="298"/>
                </a:cubicBezTo>
                <a:cubicBezTo>
                  <a:pt x="110" y="298"/>
                  <a:pt x="110" y="298"/>
                  <a:pt x="110" y="298"/>
                </a:cubicBezTo>
                <a:cubicBezTo>
                  <a:pt x="105" y="298"/>
                  <a:pt x="100" y="295"/>
                  <a:pt x="99" y="290"/>
                </a:cubicBezTo>
                <a:cubicBezTo>
                  <a:pt x="98" y="283"/>
                  <a:pt x="97" y="276"/>
                  <a:pt x="96" y="268"/>
                </a:cubicBezTo>
                <a:cubicBezTo>
                  <a:pt x="96" y="265"/>
                  <a:pt x="96" y="262"/>
                  <a:pt x="96" y="259"/>
                </a:cubicBezTo>
                <a:cubicBezTo>
                  <a:pt x="96" y="258"/>
                  <a:pt x="96" y="257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4"/>
                  <a:pt x="96" y="253"/>
                  <a:pt x="96" y="252"/>
                </a:cubicBezTo>
                <a:cubicBezTo>
                  <a:pt x="96" y="249"/>
                  <a:pt x="96" y="246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7" y="235"/>
                  <a:pt x="98" y="228"/>
                  <a:pt x="99" y="221"/>
                </a:cubicBezTo>
                <a:cubicBezTo>
                  <a:pt x="100" y="216"/>
                  <a:pt x="105" y="213"/>
                  <a:pt x="110" y="213"/>
                </a:cubicBezTo>
                <a:cubicBezTo>
                  <a:pt x="135" y="213"/>
                  <a:pt x="135" y="213"/>
                  <a:pt x="135" y="213"/>
                </a:cubicBezTo>
                <a:cubicBezTo>
                  <a:pt x="137" y="209"/>
                  <a:pt x="138" y="205"/>
                  <a:pt x="140" y="201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19" y="179"/>
                  <a:pt x="118" y="174"/>
                  <a:pt x="121" y="169"/>
                </a:cubicBezTo>
                <a:cubicBezTo>
                  <a:pt x="123" y="166"/>
                  <a:pt x="125" y="163"/>
                  <a:pt x="128" y="160"/>
                </a:cubicBezTo>
                <a:cubicBezTo>
                  <a:pt x="137" y="148"/>
                  <a:pt x="148" y="137"/>
                  <a:pt x="160" y="128"/>
                </a:cubicBezTo>
                <a:cubicBezTo>
                  <a:pt x="163" y="125"/>
                  <a:pt x="166" y="123"/>
                  <a:pt x="169" y="121"/>
                </a:cubicBezTo>
                <a:cubicBezTo>
                  <a:pt x="174" y="118"/>
                  <a:pt x="179" y="119"/>
                  <a:pt x="183" y="122"/>
                </a:cubicBezTo>
                <a:cubicBezTo>
                  <a:pt x="201" y="140"/>
                  <a:pt x="201" y="140"/>
                  <a:pt x="201" y="140"/>
                </a:cubicBezTo>
                <a:cubicBezTo>
                  <a:pt x="205" y="138"/>
                  <a:pt x="209" y="137"/>
                  <a:pt x="213" y="13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13" y="105"/>
                  <a:pt x="216" y="100"/>
                  <a:pt x="221" y="99"/>
                </a:cubicBezTo>
                <a:cubicBezTo>
                  <a:pt x="228" y="98"/>
                  <a:pt x="236" y="97"/>
                  <a:pt x="243" y="96"/>
                </a:cubicBezTo>
                <a:cubicBezTo>
                  <a:pt x="251" y="96"/>
                  <a:pt x="260" y="96"/>
                  <a:pt x="268" y="96"/>
                </a:cubicBezTo>
                <a:cubicBezTo>
                  <a:pt x="276" y="97"/>
                  <a:pt x="283" y="98"/>
                  <a:pt x="290" y="99"/>
                </a:cubicBezTo>
                <a:cubicBezTo>
                  <a:pt x="295" y="100"/>
                  <a:pt x="298" y="105"/>
                  <a:pt x="298" y="110"/>
                </a:cubicBezTo>
                <a:cubicBezTo>
                  <a:pt x="298" y="135"/>
                  <a:pt x="298" y="135"/>
                  <a:pt x="298" y="135"/>
                </a:cubicBezTo>
                <a:cubicBezTo>
                  <a:pt x="303" y="137"/>
                  <a:pt x="307" y="138"/>
                  <a:pt x="311" y="140"/>
                </a:cubicBezTo>
                <a:cubicBezTo>
                  <a:pt x="329" y="122"/>
                  <a:pt x="329" y="122"/>
                  <a:pt x="329" y="122"/>
                </a:cubicBezTo>
                <a:cubicBezTo>
                  <a:pt x="332" y="119"/>
                  <a:pt x="338" y="118"/>
                  <a:pt x="342" y="121"/>
                </a:cubicBezTo>
                <a:cubicBezTo>
                  <a:pt x="345" y="123"/>
                  <a:pt x="347" y="125"/>
                  <a:pt x="350" y="127"/>
                </a:cubicBezTo>
                <a:cubicBezTo>
                  <a:pt x="350" y="127"/>
                  <a:pt x="351" y="127"/>
                  <a:pt x="351" y="128"/>
                </a:cubicBezTo>
                <a:cubicBezTo>
                  <a:pt x="352" y="128"/>
                  <a:pt x="353" y="129"/>
                  <a:pt x="353" y="129"/>
                </a:cubicBezTo>
                <a:cubicBezTo>
                  <a:pt x="364" y="137"/>
                  <a:pt x="374" y="147"/>
                  <a:pt x="383" y="159"/>
                </a:cubicBezTo>
                <a:cubicBezTo>
                  <a:pt x="383" y="159"/>
                  <a:pt x="383" y="159"/>
                  <a:pt x="384" y="160"/>
                </a:cubicBezTo>
                <a:cubicBezTo>
                  <a:pt x="384" y="160"/>
                  <a:pt x="384" y="161"/>
                  <a:pt x="385" y="161"/>
                </a:cubicBezTo>
                <a:cubicBezTo>
                  <a:pt x="385" y="162"/>
                  <a:pt x="385" y="162"/>
                  <a:pt x="385" y="162"/>
                </a:cubicBezTo>
                <a:cubicBezTo>
                  <a:pt x="387" y="164"/>
                  <a:pt x="389" y="167"/>
                  <a:pt x="390" y="169"/>
                </a:cubicBezTo>
                <a:cubicBezTo>
                  <a:pt x="393" y="174"/>
                  <a:pt x="392" y="179"/>
                  <a:pt x="389" y="183"/>
                </a:cubicBezTo>
                <a:cubicBezTo>
                  <a:pt x="371" y="201"/>
                  <a:pt x="371" y="201"/>
                  <a:pt x="371" y="201"/>
                </a:cubicBezTo>
                <a:cubicBezTo>
                  <a:pt x="373" y="205"/>
                  <a:pt x="375" y="209"/>
                  <a:pt x="376" y="213"/>
                </a:cubicBezTo>
                <a:cubicBezTo>
                  <a:pt x="401" y="213"/>
                  <a:pt x="401" y="213"/>
                  <a:pt x="401" y="213"/>
                </a:cubicBezTo>
                <a:cubicBezTo>
                  <a:pt x="406" y="213"/>
                  <a:pt x="411" y="216"/>
                  <a:pt x="412" y="221"/>
                </a:cubicBezTo>
                <a:cubicBezTo>
                  <a:pt x="414" y="228"/>
                  <a:pt x="414" y="235"/>
                  <a:pt x="416" y="243"/>
                </a:cubicBezTo>
                <a:cubicBezTo>
                  <a:pt x="416" y="243"/>
                  <a:pt x="416" y="243"/>
                  <a:pt x="416" y="243"/>
                </a:cubicBezTo>
                <a:cubicBezTo>
                  <a:pt x="416" y="247"/>
                  <a:pt x="416" y="251"/>
                  <a:pt x="416" y="256"/>
                </a:cubicBezTo>
                <a:cubicBezTo>
                  <a:pt x="416" y="260"/>
                  <a:pt x="415" y="264"/>
                  <a:pt x="415" y="268"/>
                </a:cubicBezTo>
                <a:close/>
              </a:path>
            </a:pathLst>
          </a:custGeom>
          <a:solidFill>
            <a:srgbClr val="DDEF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5" name="Freeform 337">
            <a:extLst>
              <a:ext uri="{FF2B5EF4-FFF2-40B4-BE49-F238E27FC236}">
                <a16:creationId xmlns:a16="http://schemas.microsoft.com/office/drawing/2014/main" id="{F8BCFA25-B696-B84F-A13C-1437333E458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3054" y="3859840"/>
            <a:ext cx="432000" cy="432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38 h 512"/>
              <a:gd name="T12" fmla="*/ 405 w 512"/>
              <a:gd name="T13" fmla="*/ 245 h 512"/>
              <a:gd name="T14" fmla="*/ 384 w 512"/>
              <a:gd name="T15" fmla="*/ 245 h 512"/>
              <a:gd name="T16" fmla="*/ 384 w 512"/>
              <a:gd name="T17" fmla="*/ 384 h 512"/>
              <a:gd name="T18" fmla="*/ 373 w 512"/>
              <a:gd name="T19" fmla="*/ 394 h 512"/>
              <a:gd name="T20" fmla="*/ 277 w 512"/>
              <a:gd name="T21" fmla="*/ 394 h 512"/>
              <a:gd name="T22" fmla="*/ 266 w 512"/>
              <a:gd name="T23" fmla="*/ 384 h 512"/>
              <a:gd name="T24" fmla="*/ 266 w 512"/>
              <a:gd name="T25" fmla="*/ 330 h 512"/>
              <a:gd name="T26" fmla="*/ 245 w 512"/>
              <a:gd name="T27" fmla="*/ 330 h 512"/>
              <a:gd name="T28" fmla="*/ 245 w 512"/>
              <a:gd name="T29" fmla="*/ 384 h 512"/>
              <a:gd name="T30" fmla="*/ 234 w 512"/>
              <a:gd name="T31" fmla="*/ 394 h 512"/>
              <a:gd name="T32" fmla="*/ 138 w 512"/>
              <a:gd name="T33" fmla="*/ 394 h 512"/>
              <a:gd name="T34" fmla="*/ 128 w 512"/>
              <a:gd name="T35" fmla="*/ 384 h 512"/>
              <a:gd name="T36" fmla="*/ 128 w 512"/>
              <a:gd name="T37" fmla="*/ 245 h 512"/>
              <a:gd name="T38" fmla="*/ 106 w 512"/>
              <a:gd name="T39" fmla="*/ 245 h 512"/>
              <a:gd name="T40" fmla="*/ 96 w 512"/>
              <a:gd name="T41" fmla="*/ 238 h 512"/>
              <a:gd name="T42" fmla="*/ 99 w 512"/>
              <a:gd name="T43" fmla="*/ 226 h 512"/>
              <a:gd name="T44" fmla="*/ 249 w 512"/>
              <a:gd name="T45" fmla="*/ 98 h 512"/>
              <a:gd name="T46" fmla="*/ 263 w 512"/>
              <a:gd name="T47" fmla="*/ 98 h 512"/>
              <a:gd name="T48" fmla="*/ 412 w 512"/>
              <a:gd name="T49" fmla="*/ 226 h 512"/>
              <a:gd name="T50" fmla="*/ 415 w 512"/>
              <a:gd name="T51" fmla="*/ 238 h 512"/>
              <a:gd name="T52" fmla="*/ 256 w 512"/>
              <a:gd name="T53" fmla="*/ 120 h 512"/>
              <a:gd name="T54" fmla="*/ 376 w 512"/>
              <a:gd name="T55" fmla="*/ 224 h 512"/>
              <a:gd name="T56" fmla="*/ 373 w 512"/>
              <a:gd name="T57" fmla="*/ 224 h 512"/>
              <a:gd name="T58" fmla="*/ 362 w 512"/>
              <a:gd name="T59" fmla="*/ 234 h 512"/>
              <a:gd name="T60" fmla="*/ 362 w 512"/>
              <a:gd name="T61" fmla="*/ 373 h 512"/>
              <a:gd name="T62" fmla="*/ 288 w 512"/>
              <a:gd name="T63" fmla="*/ 373 h 512"/>
              <a:gd name="T64" fmla="*/ 288 w 512"/>
              <a:gd name="T65" fmla="*/ 320 h 512"/>
              <a:gd name="T66" fmla="*/ 277 w 512"/>
              <a:gd name="T67" fmla="*/ 309 h 512"/>
              <a:gd name="T68" fmla="*/ 234 w 512"/>
              <a:gd name="T69" fmla="*/ 309 h 512"/>
              <a:gd name="T70" fmla="*/ 224 w 512"/>
              <a:gd name="T71" fmla="*/ 320 h 512"/>
              <a:gd name="T72" fmla="*/ 224 w 512"/>
              <a:gd name="T73" fmla="*/ 373 h 512"/>
              <a:gd name="T74" fmla="*/ 149 w 512"/>
              <a:gd name="T75" fmla="*/ 373 h 512"/>
              <a:gd name="T76" fmla="*/ 149 w 512"/>
              <a:gd name="T77" fmla="*/ 234 h 512"/>
              <a:gd name="T78" fmla="*/ 138 w 512"/>
              <a:gd name="T79" fmla="*/ 224 h 512"/>
              <a:gd name="T80" fmla="*/ 135 w 512"/>
              <a:gd name="T81" fmla="*/ 224 h 512"/>
              <a:gd name="T82" fmla="*/ 256 w 512"/>
              <a:gd name="T83" fmla="*/ 1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38"/>
                </a:moveTo>
                <a:cubicBezTo>
                  <a:pt x="413" y="242"/>
                  <a:pt x="409" y="245"/>
                  <a:pt x="405" y="245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84" y="384"/>
                  <a:pt x="384" y="384"/>
                  <a:pt x="384" y="384"/>
                </a:cubicBezTo>
                <a:cubicBezTo>
                  <a:pt x="384" y="390"/>
                  <a:pt x="379" y="394"/>
                  <a:pt x="373" y="394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71" y="394"/>
                  <a:pt x="266" y="390"/>
                  <a:pt x="266" y="384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90"/>
                  <a:pt x="240" y="394"/>
                  <a:pt x="234" y="394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32" y="394"/>
                  <a:pt x="128" y="390"/>
                  <a:pt x="128" y="384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2" y="245"/>
                  <a:pt x="98" y="242"/>
                  <a:pt x="96" y="238"/>
                </a:cubicBezTo>
                <a:cubicBezTo>
                  <a:pt x="95" y="234"/>
                  <a:pt x="96" y="229"/>
                  <a:pt x="99" y="226"/>
                </a:cubicBezTo>
                <a:cubicBezTo>
                  <a:pt x="249" y="98"/>
                  <a:pt x="249" y="98"/>
                  <a:pt x="249" y="98"/>
                </a:cubicBezTo>
                <a:cubicBezTo>
                  <a:pt x="253" y="95"/>
                  <a:pt x="259" y="95"/>
                  <a:pt x="263" y="98"/>
                </a:cubicBezTo>
                <a:cubicBezTo>
                  <a:pt x="412" y="226"/>
                  <a:pt x="412" y="226"/>
                  <a:pt x="412" y="226"/>
                </a:cubicBezTo>
                <a:cubicBezTo>
                  <a:pt x="415" y="229"/>
                  <a:pt x="417" y="234"/>
                  <a:pt x="415" y="238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</a:path>
            </a:pathLst>
          </a:custGeom>
          <a:solidFill>
            <a:srgbClr val="DDEF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158111" y="2490467"/>
            <a:ext cx="1058145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контроль качества данных, формируемых в различных подразделениях налогоплательщика, применяемых для исчисления налогов (риски, влияющие на полноту и достоверность налогового учета, могут возникать в процессах отличных от налогового учета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)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158111" y="3188026"/>
            <a:ext cx="1031248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оценка налоговых последствий для Компании планируемых или произошедших изменений в налоговом законодательстве РК, а также изменений в других отраслях законодательства влияющих на исчисление налогов и других обязательных платежей в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юджет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068257" y="3900670"/>
            <a:ext cx="1027175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оценка налоговых последствий вследствие планируемых или произошедших изменений в ФХД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алогоплательщика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068257" y="4561601"/>
            <a:ext cx="10174283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контроль своевременности подготовки и представления в налоговые органы налоговой отчетности, своевременности уплаты налогов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033200" y="5208186"/>
            <a:ext cx="482161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своевременное реагирование при наличии неопределенностей, возникающих на разных уровнях контроля 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7DEC8E9-2C71-EF41-B91C-0BCAD3F65D67}"/>
              </a:ext>
            </a:extLst>
          </p:cNvPr>
          <p:cNvSpPr/>
          <p:nvPr/>
        </p:nvSpPr>
        <p:spPr bwMode="gray">
          <a:xfrm>
            <a:off x="6261907" y="5147734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non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srgbClr val="C4D600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8FFCB94-B3D4-DF42-A0A7-6692AE7BC365}"/>
              </a:ext>
            </a:extLst>
          </p:cNvPr>
          <p:cNvSpPr/>
          <p:nvPr/>
        </p:nvSpPr>
        <p:spPr bwMode="gray">
          <a:xfrm>
            <a:off x="492257" y="5770172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srgbClr val="C4D600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grpSp>
        <p:nvGrpSpPr>
          <p:cNvPr id="53" name="Group 331">
            <a:extLst>
              <a:ext uri="{FF2B5EF4-FFF2-40B4-BE49-F238E27FC236}">
                <a16:creationId xmlns:a16="http://schemas.microsoft.com/office/drawing/2014/main" id="{656DD569-A78E-9948-B15B-7DFFE00EEA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33907" y="5216237"/>
            <a:ext cx="432000" cy="432000"/>
            <a:chOff x="3832" y="1197"/>
            <a:chExt cx="340" cy="340"/>
          </a:xfrm>
          <a:solidFill>
            <a:srgbClr val="A0DCFF"/>
          </a:solidFill>
        </p:grpSpPr>
        <p:sp>
          <p:nvSpPr>
            <p:cNvPr id="54" name="Freeform 332">
              <a:extLst>
                <a:ext uri="{FF2B5EF4-FFF2-40B4-BE49-F238E27FC236}">
                  <a16:creationId xmlns:a16="http://schemas.microsoft.com/office/drawing/2014/main" id="{88164A83-461C-0742-8411-DCD222D99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p14="http://schemas.microsoft.com/office/powerpoint/2010/main" xmlns:a16="http://schemas.microsoft.com/office/drawing/2014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endParaRPr>
            </a:p>
          </p:txBody>
        </p:sp>
        <p:sp>
          <p:nvSpPr>
            <p:cNvPr id="55" name="Freeform 333">
              <a:extLst>
                <a:ext uri="{FF2B5EF4-FFF2-40B4-BE49-F238E27FC236}">
                  <a16:creationId xmlns:a16="http://schemas.microsoft.com/office/drawing/2014/main" id="{64B6E9C3-C0E5-DD4D-9CFC-2CEF0D2EB9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solidFill>
              <a:srgbClr val="007CB0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p14="http://schemas.microsoft.com/office/powerpoint/2010/main" xmlns:a16="http://schemas.microsoft.com/office/drawing/2014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endParaRPr>
            </a:p>
          </p:txBody>
        </p:sp>
      </p:grpSp>
      <p:sp>
        <p:nvSpPr>
          <p:cNvPr id="56" name="Freeform 223">
            <a:extLst>
              <a:ext uri="{FF2B5EF4-FFF2-40B4-BE49-F238E27FC236}">
                <a16:creationId xmlns:a16="http://schemas.microsoft.com/office/drawing/2014/main" id="{2F006AE8-48ED-964F-AB21-0C558CD6F67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8441" y="5842172"/>
            <a:ext cx="432000" cy="432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39 w 512"/>
              <a:gd name="T11" fmla="*/ 267 h 512"/>
              <a:gd name="T12" fmla="*/ 128 w 512"/>
              <a:gd name="T13" fmla="*/ 256 h 512"/>
              <a:gd name="T14" fmla="*/ 256 w 512"/>
              <a:gd name="T15" fmla="*/ 128 h 512"/>
              <a:gd name="T16" fmla="*/ 331 w 512"/>
              <a:gd name="T17" fmla="*/ 153 h 512"/>
              <a:gd name="T18" fmla="*/ 331 w 512"/>
              <a:gd name="T19" fmla="*/ 128 h 512"/>
              <a:gd name="T20" fmla="*/ 341 w 512"/>
              <a:gd name="T21" fmla="*/ 118 h 512"/>
              <a:gd name="T22" fmla="*/ 352 w 512"/>
              <a:gd name="T23" fmla="*/ 128 h 512"/>
              <a:gd name="T24" fmla="*/ 352 w 512"/>
              <a:gd name="T25" fmla="*/ 182 h 512"/>
              <a:gd name="T26" fmla="*/ 341 w 512"/>
              <a:gd name="T27" fmla="*/ 192 h 512"/>
              <a:gd name="T28" fmla="*/ 288 w 512"/>
              <a:gd name="T29" fmla="*/ 192 h 512"/>
              <a:gd name="T30" fmla="*/ 277 w 512"/>
              <a:gd name="T31" fmla="*/ 182 h 512"/>
              <a:gd name="T32" fmla="*/ 288 w 512"/>
              <a:gd name="T33" fmla="*/ 171 h 512"/>
              <a:gd name="T34" fmla="*/ 320 w 512"/>
              <a:gd name="T35" fmla="*/ 171 h 512"/>
              <a:gd name="T36" fmla="*/ 256 w 512"/>
              <a:gd name="T37" fmla="*/ 150 h 512"/>
              <a:gd name="T38" fmla="*/ 149 w 512"/>
              <a:gd name="T39" fmla="*/ 256 h 512"/>
              <a:gd name="T40" fmla="*/ 139 w 512"/>
              <a:gd name="T41" fmla="*/ 267 h 512"/>
              <a:gd name="T42" fmla="*/ 256 w 512"/>
              <a:gd name="T43" fmla="*/ 384 h 512"/>
              <a:gd name="T44" fmla="*/ 181 w 512"/>
              <a:gd name="T45" fmla="*/ 360 h 512"/>
              <a:gd name="T46" fmla="*/ 181 w 512"/>
              <a:gd name="T47" fmla="*/ 384 h 512"/>
              <a:gd name="T48" fmla="*/ 171 w 512"/>
              <a:gd name="T49" fmla="*/ 395 h 512"/>
              <a:gd name="T50" fmla="*/ 160 w 512"/>
              <a:gd name="T51" fmla="*/ 384 h 512"/>
              <a:gd name="T52" fmla="*/ 160 w 512"/>
              <a:gd name="T53" fmla="*/ 331 h 512"/>
              <a:gd name="T54" fmla="*/ 171 w 512"/>
              <a:gd name="T55" fmla="*/ 320 h 512"/>
              <a:gd name="T56" fmla="*/ 224 w 512"/>
              <a:gd name="T57" fmla="*/ 320 h 512"/>
              <a:gd name="T58" fmla="*/ 235 w 512"/>
              <a:gd name="T59" fmla="*/ 331 h 512"/>
              <a:gd name="T60" fmla="*/ 224 w 512"/>
              <a:gd name="T61" fmla="*/ 342 h 512"/>
              <a:gd name="T62" fmla="*/ 192 w 512"/>
              <a:gd name="T63" fmla="*/ 342 h 512"/>
              <a:gd name="T64" fmla="*/ 256 w 512"/>
              <a:gd name="T65" fmla="*/ 363 h 512"/>
              <a:gd name="T66" fmla="*/ 363 w 512"/>
              <a:gd name="T67" fmla="*/ 256 h 512"/>
              <a:gd name="T68" fmla="*/ 373 w 512"/>
              <a:gd name="T69" fmla="*/ 246 h 512"/>
              <a:gd name="T70" fmla="*/ 384 w 512"/>
              <a:gd name="T71" fmla="*/ 256 h 512"/>
              <a:gd name="T72" fmla="*/ 256 w 512"/>
              <a:gd name="T73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39" y="267"/>
                </a:moveTo>
                <a:cubicBezTo>
                  <a:pt x="133" y="267"/>
                  <a:pt x="128" y="262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283" y="128"/>
                  <a:pt x="309" y="137"/>
                  <a:pt x="331" y="153"/>
                </a:cubicBezTo>
                <a:cubicBezTo>
                  <a:pt x="331" y="128"/>
                  <a:pt x="331" y="128"/>
                  <a:pt x="331" y="128"/>
                </a:cubicBezTo>
                <a:cubicBezTo>
                  <a:pt x="331" y="122"/>
                  <a:pt x="335" y="118"/>
                  <a:pt x="341" y="118"/>
                </a:cubicBezTo>
                <a:cubicBezTo>
                  <a:pt x="347" y="118"/>
                  <a:pt x="352" y="122"/>
                  <a:pt x="352" y="128"/>
                </a:cubicBezTo>
                <a:cubicBezTo>
                  <a:pt x="352" y="182"/>
                  <a:pt x="352" y="182"/>
                  <a:pt x="352" y="182"/>
                </a:cubicBezTo>
                <a:cubicBezTo>
                  <a:pt x="352" y="188"/>
                  <a:pt x="347" y="192"/>
                  <a:pt x="341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2" y="192"/>
                  <a:pt x="277" y="188"/>
                  <a:pt x="277" y="182"/>
                </a:cubicBezTo>
                <a:cubicBezTo>
                  <a:pt x="277" y="176"/>
                  <a:pt x="282" y="171"/>
                  <a:pt x="288" y="171"/>
                </a:cubicBezTo>
                <a:cubicBezTo>
                  <a:pt x="320" y="171"/>
                  <a:pt x="320" y="171"/>
                  <a:pt x="320" y="171"/>
                </a:cubicBezTo>
                <a:cubicBezTo>
                  <a:pt x="302" y="157"/>
                  <a:pt x="279" y="150"/>
                  <a:pt x="256" y="150"/>
                </a:cubicBezTo>
                <a:cubicBezTo>
                  <a:pt x="197" y="150"/>
                  <a:pt x="149" y="198"/>
                  <a:pt x="149" y="256"/>
                </a:cubicBezTo>
                <a:cubicBezTo>
                  <a:pt x="149" y="262"/>
                  <a:pt x="145" y="267"/>
                  <a:pt x="139" y="267"/>
                </a:cubicBezTo>
                <a:close/>
                <a:moveTo>
                  <a:pt x="256" y="384"/>
                </a:moveTo>
                <a:cubicBezTo>
                  <a:pt x="229" y="384"/>
                  <a:pt x="203" y="376"/>
                  <a:pt x="181" y="360"/>
                </a:cubicBezTo>
                <a:cubicBezTo>
                  <a:pt x="181" y="384"/>
                  <a:pt x="181" y="384"/>
                  <a:pt x="181" y="384"/>
                </a:cubicBezTo>
                <a:cubicBezTo>
                  <a:pt x="181" y="390"/>
                  <a:pt x="177" y="395"/>
                  <a:pt x="171" y="395"/>
                </a:cubicBezTo>
                <a:cubicBezTo>
                  <a:pt x="165" y="395"/>
                  <a:pt x="160" y="390"/>
                  <a:pt x="160" y="384"/>
                </a:cubicBezTo>
                <a:cubicBezTo>
                  <a:pt x="160" y="331"/>
                  <a:pt x="160" y="331"/>
                  <a:pt x="160" y="331"/>
                </a:cubicBezTo>
                <a:cubicBezTo>
                  <a:pt x="160" y="325"/>
                  <a:pt x="165" y="320"/>
                  <a:pt x="171" y="320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30" y="320"/>
                  <a:pt x="235" y="325"/>
                  <a:pt x="235" y="331"/>
                </a:cubicBezTo>
                <a:cubicBezTo>
                  <a:pt x="235" y="337"/>
                  <a:pt x="230" y="342"/>
                  <a:pt x="224" y="342"/>
                </a:cubicBezTo>
                <a:cubicBezTo>
                  <a:pt x="192" y="342"/>
                  <a:pt x="192" y="342"/>
                  <a:pt x="192" y="342"/>
                </a:cubicBezTo>
                <a:cubicBezTo>
                  <a:pt x="210" y="355"/>
                  <a:pt x="233" y="363"/>
                  <a:pt x="256" y="363"/>
                </a:cubicBezTo>
                <a:cubicBezTo>
                  <a:pt x="315" y="363"/>
                  <a:pt x="363" y="315"/>
                  <a:pt x="363" y="256"/>
                </a:cubicBezTo>
                <a:cubicBezTo>
                  <a:pt x="363" y="250"/>
                  <a:pt x="367" y="246"/>
                  <a:pt x="373" y="246"/>
                </a:cubicBezTo>
                <a:cubicBezTo>
                  <a:pt x="379" y="246"/>
                  <a:pt x="384" y="250"/>
                  <a:pt x="384" y="256"/>
                </a:cubicBezTo>
                <a:cubicBezTo>
                  <a:pt x="384" y="327"/>
                  <a:pt x="327" y="384"/>
                  <a:pt x="256" y="384"/>
                </a:cubicBezTo>
                <a:close/>
              </a:path>
            </a:pathLst>
          </a:custGeom>
          <a:solidFill>
            <a:srgbClr val="007CB0">
              <a:lumMod val="20000"/>
              <a:lumOff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056624" y="5816040"/>
            <a:ext cx="479818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оценка налоговых последствий на уровне планирования бизнес-сделок, заключения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договоров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840785" y="5167078"/>
            <a:ext cx="362472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контроль налоговой и судебной практики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</a:p>
          <a:p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контроль подготовки налоговых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форм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FB60940-E2F4-2148-B467-28021FFBD11A}"/>
              </a:ext>
            </a:extLst>
          </p:cNvPr>
          <p:cNvSpPr/>
          <p:nvPr/>
        </p:nvSpPr>
        <p:spPr bwMode="gray">
          <a:xfrm flipH="1">
            <a:off x="6695010" y="5821034"/>
            <a:ext cx="5034743" cy="514902"/>
          </a:xfrm>
          <a:prstGeom prst="rect">
            <a:avLst/>
          </a:prstGeom>
          <a:solidFill>
            <a:srgbClr val="007CB0">
              <a:lumMod val="60000"/>
              <a:lumOff val="40000"/>
            </a:srgbClr>
          </a:solidFill>
          <a:ln w="190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AA9F26B-0AD7-E340-B79A-F5E5A1F9ECCA}"/>
              </a:ext>
            </a:extLst>
          </p:cNvPr>
          <p:cNvSpPr/>
          <p:nvPr/>
        </p:nvSpPr>
        <p:spPr bwMode="gray">
          <a:xfrm>
            <a:off x="6261907" y="5769956"/>
            <a:ext cx="576000" cy="576000"/>
          </a:xfrm>
          <a:prstGeom prst="ellipse">
            <a:avLst/>
          </a:prstGeom>
          <a:solidFill>
            <a:sysClr val="windowText" lastClr="000000"/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srgbClr val="C4D600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82" name="Freeform 174">
            <a:extLst>
              <a:ext uri="{FF2B5EF4-FFF2-40B4-BE49-F238E27FC236}">
                <a16:creationId xmlns:a16="http://schemas.microsoft.com/office/drawing/2014/main" id="{86DC2249-E9B9-144A-9751-C735071B4AB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33907" y="5841956"/>
            <a:ext cx="432000" cy="432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4 w 512"/>
              <a:gd name="T11" fmla="*/ 260 h 512"/>
              <a:gd name="T12" fmla="*/ 402 w 512"/>
              <a:gd name="T13" fmla="*/ 263 h 512"/>
              <a:gd name="T14" fmla="*/ 370 w 512"/>
              <a:gd name="T15" fmla="*/ 295 h 512"/>
              <a:gd name="T16" fmla="*/ 362 w 512"/>
              <a:gd name="T17" fmla="*/ 298 h 512"/>
              <a:gd name="T18" fmla="*/ 355 w 512"/>
              <a:gd name="T19" fmla="*/ 295 h 512"/>
              <a:gd name="T20" fmla="*/ 355 w 512"/>
              <a:gd name="T21" fmla="*/ 280 h 512"/>
              <a:gd name="T22" fmla="*/ 369 w 512"/>
              <a:gd name="T23" fmla="*/ 266 h 512"/>
              <a:gd name="T24" fmla="*/ 341 w 512"/>
              <a:gd name="T25" fmla="*/ 266 h 512"/>
              <a:gd name="T26" fmla="*/ 309 w 512"/>
              <a:gd name="T27" fmla="*/ 234 h 512"/>
              <a:gd name="T28" fmla="*/ 309 w 512"/>
              <a:gd name="T29" fmla="*/ 170 h 512"/>
              <a:gd name="T30" fmla="*/ 298 w 512"/>
              <a:gd name="T31" fmla="*/ 160 h 512"/>
              <a:gd name="T32" fmla="*/ 288 w 512"/>
              <a:gd name="T33" fmla="*/ 170 h 512"/>
              <a:gd name="T34" fmla="*/ 288 w 512"/>
              <a:gd name="T35" fmla="*/ 341 h 512"/>
              <a:gd name="T36" fmla="*/ 256 w 512"/>
              <a:gd name="T37" fmla="*/ 373 h 512"/>
              <a:gd name="T38" fmla="*/ 224 w 512"/>
              <a:gd name="T39" fmla="*/ 341 h 512"/>
              <a:gd name="T40" fmla="*/ 224 w 512"/>
              <a:gd name="T41" fmla="*/ 256 h 512"/>
              <a:gd name="T42" fmla="*/ 224 w 512"/>
              <a:gd name="T43" fmla="*/ 170 h 512"/>
              <a:gd name="T44" fmla="*/ 213 w 512"/>
              <a:gd name="T45" fmla="*/ 160 h 512"/>
              <a:gd name="T46" fmla="*/ 202 w 512"/>
              <a:gd name="T47" fmla="*/ 170 h 512"/>
              <a:gd name="T48" fmla="*/ 202 w 512"/>
              <a:gd name="T49" fmla="*/ 341 h 512"/>
              <a:gd name="T50" fmla="*/ 170 w 512"/>
              <a:gd name="T51" fmla="*/ 373 h 512"/>
              <a:gd name="T52" fmla="*/ 138 w 512"/>
              <a:gd name="T53" fmla="*/ 341 h 512"/>
              <a:gd name="T54" fmla="*/ 138 w 512"/>
              <a:gd name="T55" fmla="*/ 277 h 512"/>
              <a:gd name="T56" fmla="*/ 128 w 512"/>
              <a:gd name="T57" fmla="*/ 266 h 512"/>
              <a:gd name="T58" fmla="*/ 117 w 512"/>
              <a:gd name="T59" fmla="*/ 256 h 512"/>
              <a:gd name="T60" fmla="*/ 128 w 512"/>
              <a:gd name="T61" fmla="*/ 245 h 512"/>
              <a:gd name="T62" fmla="*/ 160 w 512"/>
              <a:gd name="T63" fmla="*/ 277 h 512"/>
              <a:gd name="T64" fmla="*/ 160 w 512"/>
              <a:gd name="T65" fmla="*/ 341 h 512"/>
              <a:gd name="T66" fmla="*/ 170 w 512"/>
              <a:gd name="T67" fmla="*/ 352 h 512"/>
              <a:gd name="T68" fmla="*/ 181 w 512"/>
              <a:gd name="T69" fmla="*/ 341 h 512"/>
              <a:gd name="T70" fmla="*/ 181 w 512"/>
              <a:gd name="T71" fmla="*/ 170 h 512"/>
              <a:gd name="T72" fmla="*/ 213 w 512"/>
              <a:gd name="T73" fmla="*/ 138 h 512"/>
              <a:gd name="T74" fmla="*/ 245 w 512"/>
              <a:gd name="T75" fmla="*/ 170 h 512"/>
              <a:gd name="T76" fmla="*/ 245 w 512"/>
              <a:gd name="T77" fmla="*/ 256 h 512"/>
              <a:gd name="T78" fmla="*/ 245 w 512"/>
              <a:gd name="T79" fmla="*/ 341 h 512"/>
              <a:gd name="T80" fmla="*/ 256 w 512"/>
              <a:gd name="T81" fmla="*/ 352 h 512"/>
              <a:gd name="T82" fmla="*/ 266 w 512"/>
              <a:gd name="T83" fmla="*/ 341 h 512"/>
              <a:gd name="T84" fmla="*/ 266 w 512"/>
              <a:gd name="T85" fmla="*/ 170 h 512"/>
              <a:gd name="T86" fmla="*/ 298 w 512"/>
              <a:gd name="T87" fmla="*/ 138 h 512"/>
              <a:gd name="T88" fmla="*/ 330 w 512"/>
              <a:gd name="T89" fmla="*/ 170 h 512"/>
              <a:gd name="T90" fmla="*/ 330 w 512"/>
              <a:gd name="T91" fmla="*/ 234 h 512"/>
              <a:gd name="T92" fmla="*/ 341 w 512"/>
              <a:gd name="T93" fmla="*/ 245 h 512"/>
              <a:gd name="T94" fmla="*/ 369 w 512"/>
              <a:gd name="T95" fmla="*/ 245 h 512"/>
              <a:gd name="T96" fmla="*/ 355 w 512"/>
              <a:gd name="T97" fmla="*/ 231 h 512"/>
              <a:gd name="T98" fmla="*/ 355 w 512"/>
              <a:gd name="T99" fmla="*/ 216 h 512"/>
              <a:gd name="T100" fmla="*/ 370 w 512"/>
              <a:gd name="T101" fmla="*/ 216 h 512"/>
              <a:gd name="T102" fmla="*/ 402 w 512"/>
              <a:gd name="T103" fmla="*/ 248 h 512"/>
              <a:gd name="T104" fmla="*/ 404 w 512"/>
              <a:gd name="T105" fmla="*/ 252 h 512"/>
              <a:gd name="T106" fmla="*/ 404 w 512"/>
              <a:gd name="T107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4" y="260"/>
                </a:moveTo>
                <a:cubicBezTo>
                  <a:pt x="404" y="261"/>
                  <a:pt x="403" y="262"/>
                  <a:pt x="402" y="263"/>
                </a:cubicBezTo>
                <a:cubicBezTo>
                  <a:pt x="370" y="295"/>
                  <a:pt x="370" y="295"/>
                  <a:pt x="370" y="295"/>
                </a:cubicBezTo>
                <a:cubicBezTo>
                  <a:pt x="368" y="297"/>
                  <a:pt x="365" y="298"/>
                  <a:pt x="362" y="298"/>
                </a:cubicBezTo>
                <a:cubicBezTo>
                  <a:pt x="360" y="298"/>
                  <a:pt x="357" y="297"/>
                  <a:pt x="355" y="295"/>
                </a:cubicBezTo>
                <a:cubicBezTo>
                  <a:pt x="351" y="291"/>
                  <a:pt x="351" y="284"/>
                  <a:pt x="355" y="280"/>
                </a:cubicBezTo>
                <a:cubicBezTo>
                  <a:pt x="369" y="266"/>
                  <a:pt x="369" y="266"/>
                  <a:pt x="369" y="266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323" y="266"/>
                  <a:pt x="309" y="252"/>
                  <a:pt x="309" y="234"/>
                </a:cubicBezTo>
                <a:cubicBezTo>
                  <a:pt x="309" y="170"/>
                  <a:pt x="309" y="170"/>
                  <a:pt x="309" y="170"/>
                </a:cubicBezTo>
                <a:cubicBezTo>
                  <a:pt x="309" y="164"/>
                  <a:pt x="304" y="160"/>
                  <a:pt x="298" y="160"/>
                </a:cubicBezTo>
                <a:cubicBezTo>
                  <a:pt x="292" y="160"/>
                  <a:pt x="288" y="164"/>
                  <a:pt x="288" y="170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59"/>
                  <a:pt x="273" y="373"/>
                  <a:pt x="256" y="373"/>
                </a:cubicBezTo>
                <a:cubicBezTo>
                  <a:pt x="238" y="373"/>
                  <a:pt x="224" y="359"/>
                  <a:pt x="224" y="341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24" y="164"/>
                  <a:pt x="219" y="160"/>
                  <a:pt x="213" y="160"/>
                </a:cubicBezTo>
                <a:cubicBezTo>
                  <a:pt x="207" y="160"/>
                  <a:pt x="202" y="164"/>
                  <a:pt x="202" y="170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59"/>
                  <a:pt x="188" y="373"/>
                  <a:pt x="170" y="373"/>
                </a:cubicBezTo>
                <a:cubicBezTo>
                  <a:pt x="153" y="373"/>
                  <a:pt x="138" y="359"/>
                  <a:pt x="138" y="341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38" y="271"/>
                  <a:pt x="134" y="266"/>
                  <a:pt x="128" y="266"/>
                </a:cubicBezTo>
                <a:cubicBezTo>
                  <a:pt x="122" y="266"/>
                  <a:pt x="117" y="262"/>
                  <a:pt x="117" y="256"/>
                </a:cubicBezTo>
                <a:cubicBezTo>
                  <a:pt x="117" y="250"/>
                  <a:pt x="122" y="245"/>
                  <a:pt x="128" y="245"/>
                </a:cubicBezTo>
                <a:cubicBezTo>
                  <a:pt x="145" y="245"/>
                  <a:pt x="160" y="259"/>
                  <a:pt x="160" y="277"/>
                </a:cubicBezTo>
                <a:cubicBezTo>
                  <a:pt x="160" y="341"/>
                  <a:pt x="160" y="341"/>
                  <a:pt x="160" y="341"/>
                </a:cubicBezTo>
                <a:cubicBezTo>
                  <a:pt x="160" y="347"/>
                  <a:pt x="164" y="352"/>
                  <a:pt x="170" y="352"/>
                </a:cubicBezTo>
                <a:cubicBezTo>
                  <a:pt x="176" y="352"/>
                  <a:pt x="181" y="347"/>
                  <a:pt x="181" y="341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81" y="153"/>
                  <a:pt x="195" y="138"/>
                  <a:pt x="213" y="138"/>
                </a:cubicBezTo>
                <a:cubicBezTo>
                  <a:pt x="231" y="138"/>
                  <a:pt x="245" y="153"/>
                  <a:pt x="245" y="170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50" y="352"/>
                  <a:pt x="256" y="352"/>
                </a:cubicBezTo>
                <a:cubicBezTo>
                  <a:pt x="262" y="352"/>
                  <a:pt x="266" y="347"/>
                  <a:pt x="266" y="341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66" y="153"/>
                  <a:pt x="281" y="138"/>
                  <a:pt x="298" y="138"/>
                </a:cubicBezTo>
                <a:cubicBezTo>
                  <a:pt x="316" y="138"/>
                  <a:pt x="330" y="153"/>
                  <a:pt x="330" y="170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0" y="240"/>
                  <a:pt x="335" y="245"/>
                  <a:pt x="341" y="245"/>
                </a:cubicBezTo>
                <a:cubicBezTo>
                  <a:pt x="369" y="245"/>
                  <a:pt x="369" y="245"/>
                  <a:pt x="369" y="245"/>
                </a:cubicBezTo>
                <a:cubicBezTo>
                  <a:pt x="355" y="231"/>
                  <a:pt x="355" y="231"/>
                  <a:pt x="355" y="231"/>
                </a:cubicBezTo>
                <a:cubicBezTo>
                  <a:pt x="351" y="227"/>
                  <a:pt x="351" y="220"/>
                  <a:pt x="355" y="216"/>
                </a:cubicBezTo>
                <a:cubicBezTo>
                  <a:pt x="359" y="212"/>
                  <a:pt x="366" y="212"/>
                  <a:pt x="370" y="216"/>
                </a:cubicBezTo>
                <a:cubicBezTo>
                  <a:pt x="402" y="248"/>
                  <a:pt x="402" y="248"/>
                  <a:pt x="402" y="248"/>
                </a:cubicBezTo>
                <a:cubicBezTo>
                  <a:pt x="403" y="249"/>
                  <a:pt x="404" y="250"/>
                  <a:pt x="404" y="252"/>
                </a:cubicBezTo>
                <a:cubicBezTo>
                  <a:pt x="405" y="254"/>
                  <a:pt x="405" y="257"/>
                  <a:pt x="404" y="260"/>
                </a:cubicBezTo>
                <a:close/>
              </a:path>
            </a:pathLst>
          </a:custGeom>
          <a:solidFill>
            <a:srgbClr val="007CB0">
              <a:lumMod val="20000"/>
              <a:lumOff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6831929" y="5808079"/>
            <a:ext cx="449797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300" dirty="0">
                <a:solidFill>
                  <a:schemeClr val="bg1"/>
                </a:solidFill>
                <a:cs typeface="Times New Roman" panose="02020603050405020304" pitchFamily="18" charset="0"/>
              </a:rPr>
              <a:t>своевременное информирование о налоговых рисках </a:t>
            </a:r>
            <a:r>
              <a:rPr lang="ru-RU" sz="13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руководства</a:t>
            </a:r>
            <a:endParaRPr lang="ru-RU" sz="13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866824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зменения и дополнения, вводимые в действие с </a:t>
            </a:r>
            <a:r>
              <a:rPr lang="ru-RU" dirty="0" smtClean="0"/>
              <a:t>2023 г</a:t>
            </a:r>
            <a:r>
              <a:rPr lang="ru-RU" dirty="0"/>
              <a:t>.</a:t>
            </a:r>
          </a:p>
        </p:txBody>
      </p:sp>
      <p:sp>
        <p:nvSpPr>
          <p:cNvPr id="61" name="Rounded Rectangle 60"/>
          <p:cNvSpPr/>
          <p:nvPr/>
        </p:nvSpPr>
        <p:spPr bwMode="gray">
          <a:xfrm>
            <a:off x="2200275" y="2692187"/>
            <a:ext cx="8058150" cy="1286297"/>
          </a:xfrm>
          <a:prstGeom prst="roundRect">
            <a:avLst/>
          </a:prstGeom>
          <a:ln w="57150"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47926" y="1264760"/>
            <a:ext cx="11283695" cy="738664"/>
          </a:xfrm>
          <a:prstGeom prst="rect">
            <a:avLst/>
          </a:prstGeom>
          <a:ln w="28575">
            <a:solidFill>
              <a:srgbClr val="43B02A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Согласно Закону Республики Казахстан (РК) от 11 июля 2022 года № 135-VII «О внесении изменений и дополнений в Кодекс Республики Казахстан «О налогах и других обязательных платежах в бюджет» (Налоговый кодекс) внесены следующие изменения действующие </a:t>
            </a:r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с 1 января 2023 года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63" name="Rectangle 62"/>
          <p:cNvSpPr/>
          <p:nvPr/>
        </p:nvSpPr>
        <p:spPr>
          <a:xfrm>
            <a:off x="2200275" y="2732387"/>
            <a:ext cx="79136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Затраты по приобретению у нерезидента - взаимосвязанной стороны управленческих, консультационных, консалтинговых, аудиторских, дизайнерских, юридических, бухгалтерских, адвокатских, рекламных, маркетинговых, </a:t>
            </a:r>
            <a:r>
              <a:rPr lang="ru-RU" sz="1400" b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франчайзинговых</a:t>
            </a:r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, финансовых (за исключением расходов по вознаграждению), инжиниринговых, агентских услуг, роялти, прав на использование объектов интеллектуальной собственности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4" name="Freeform 63"/>
          <p:cNvSpPr/>
          <p:nvPr/>
        </p:nvSpPr>
        <p:spPr bwMode="gray">
          <a:xfrm>
            <a:off x="2770631" y="4000868"/>
            <a:ext cx="1892808" cy="996696"/>
          </a:xfrm>
          <a:custGeom>
            <a:avLst/>
            <a:gdLst>
              <a:gd name="connsiteX0" fmla="*/ 1892808 w 1892808"/>
              <a:gd name="connsiteY0" fmla="*/ 0 h 996696"/>
              <a:gd name="connsiteX1" fmla="*/ 740664 w 1892808"/>
              <a:gd name="connsiteY1" fmla="*/ 292608 h 996696"/>
              <a:gd name="connsiteX2" fmla="*/ 0 w 1892808"/>
              <a:gd name="connsiteY2" fmla="*/ 996696 h 996696"/>
              <a:gd name="connsiteX3" fmla="*/ 0 w 1892808"/>
              <a:gd name="connsiteY3" fmla="*/ 996696 h 99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2808" h="996696">
                <a:moveTo>
                  <a:pt x="1892808" y="0"/>
                </a:moveTo>
                <a:cubicBezTo>
                  <a:pt x="1474470" y="63246"/>
                  <a:pt x="1056132" y="126492"/>
                  <a:pt x="740664" y="292608"/>
                </a:cubicBezTo>
                <a:cubicBezTo>
                  <a:pt x="425196" y="458724"/>
                  <a:pt x="0" y="996696"/>
                  <a:pt x="0" y="996696"/>
                </a:cubicBezTo>
                <a:lnTo>
                  <a:pt x="0" y="996696"/>
                </a:lnTo>
              </a:path>
            </a:pathLst>
          </a:custGeom>
          <a:noFill/>
          <a:ln w="28575">
            <a:solidFill>
              <a:srgbClr val="43B02A"/>
            </a:solidFill>
            <a:prstDash val="sysDot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reeform 64"/>
          <p:cNvSpPr/>
          <p:nvPr/>
        </p:nvSpPr>
        <p:spPr bwMode="gray">
          <a:xfrm>
            <a:off x="7571231" y="3991243"/>
            <a:ext cx="1856232" cy="996696"/>
          </a:xfrm>
          <a:custGeom>
            <a:avLst/>
            <a:gdLst>
              <a:gd name="connsiteX0" fmla="*/ 0 w 1856232"/>
              <a:gd name="connsiteY0" fmla="*/ 0 h 877824"/>
              <a:gd name="connsiteX1" fmla="*/ 1014984 w 1856232"/>
              <a:gd name="connsiteY1" fmla="*/ 210312 h 877824"/>
              <a:gd name="connsiteX2" fmla="*/ 1856232 w 1856232"/>
              <a:gd name="connsiteY2" fmla="*/ 877824 h 877824"/>
              <a:gd name="connsiteX3" fmla="*/ 1856232 w 1856232"/>
              <a:gd name="connsiteY3" fmla="*/ 877824 h 877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6232" h="877824">
                <a:moveTo>
                  <a:pt x="0" y="0"/>
                </a:moveTo>
                <a:cubicBezTo>
                  <a:pt x="352806" y="32004"/>
                  <a:pt x="705612" y="64008"/>
                  <a:pt x="1014984" y="210312"/>
                </a:cubicBezTo>
                <a:cubicBezTo>
                  <a:pt x="1324356" y="356616"/>
                  <a:pt x="1856232" y="877824"/>
                  <a:pt x="1856232" y="877824"/>
                </a:cubicBezTo>
                <a:lnTo>
                  <a:pt x="1856232" y="877824"/>
                </a:lnTo>
              </a:path>
            </a:pathLst>
          </a:custGeom>
          <a:noFill/>
          <a:ln w="28575">
            <a:solidFill>
              <a:srgbClr val="43B02A"/>
            </a:solidFill>
            <a:prstDash val="sysDot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1240535" y="4987939"/>
            <a:ext cx="3060192" cy="523220"/>
          </a:xfrm>
          <a:prstGeom prst="rect">
            <a:avLst/>
          </a:prstGeom>
          <a:ln w="28575">
            <a:solidFill>
              <a:srgbClr val="43B02A"/>
            </a:solidFill>
            <a:prstDash val="sysDot"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Не подлежат вычету </a:t>
            </a:r>
            <a:endParaRPr lang="ru-RU" sz="14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для </a:t>
            </a:r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целей исчисления КПН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571231" y="4987939"/>
            <a:ext cx="3587497" cy="738664"/>
          </a:xfrm>
          <a:prstGeom prst="rect">
            <a:avLst/>
          </a:prstGeom>
          <a:ln w="28575">
            <a:solidFill>
              <a:srgbClr val="43B02A"/>
            </a:solidFill>
            <a:prstDash val="sysDot"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Уменьшение налогооблагаемого дохода в размере общей суммы, не превышающей </a:t>
            </a:r>
            <a:r>
              <a:rPr lang="ru-RU" sz="14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3 </a:t>
            </a:r>
            <a:r>
              <a:rPr lang="ru-RU" sz="14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%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от налогооблагаемого дохода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7997946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зменения и дополнения, вводимые в действие с </a:t>
            </a:r>
            <a:r>
              <a:rPr lang="ru-RU" dirty="0" smtClean="0"/>
              <a:t>2023 г</a:t>
            </a:r>
            <a:r>
              <a:rPr lang="ru-RU" dirty="0"/>
              <a:t>.</a:t>
            </a:r>
          </a:p>
        </p:txBody>
      </p:sp>
      <p:sp>
        <p:nvSpPr>
          <p:cNvPr id="32" name="Прямоугольник 10"/>
          <p:cNvSpPr/>
          <p:nvPr/>
        </p:nvSpPr>
        <p:spPr>
          <a:xfrm>
            <a:off x="1068404" y="1260211"/>
            <a:ext cx="10088812" cy="433504"/>
          </a:xfrm>
          <a:prstGeom prst="roundRect">
            <a:avLst/>
          </a:prstGeom>
          <a:solidFill>
            <a:srgbClr val="ED8B00"/>
          </a:solidFill>
          <a:ln>
            <a:solidFill>
              <a:srgbClr val="ED8B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алогообложение дивидендов в 2022 году</a:t>
            </a:r>
            <a:endParaRPr lang="ru-RU" sz="16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Скругленный прямоугольник 3"/>
          <p:cNvSpPr/>
          <p:nvPr/>
        </p:nvSpPr>
        <p:spPr>
          <a:xfrm>
            <a:off x="7757058" y="2695188"/>
            <a:ext cx="1147415" cy="10830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86BC25"/>
                </a:solidFill>
                <a:cs typeface="Times New Roman" panose="02020603050405020304" pitchFamily="18" charset="0"/>
              </a:rPr>
              <a:t>5%</a:t>
            </a:r>
            <a:r>
              <a:rPr lang="ru-RU" sz="1400" b="1" dirty="0" smtClean="0">
                <a:cs typeface="Times New Roman" panose="02020603050405020304" pitchFamily="18" charset="0"/>
              </a:rPr>
              <a:t> ФЛ резиденты РК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22"/>
          <p:cNvSpPr/>
          <p:nvPr/>
        </p:nvSpPr>
        <p:spPr>
          <a:xfrm>
            <a:off x="6306872" y="2690670"/>
            <a:ext cx="1332603" cy="1087577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86BC25"/>
                </a:solidFill>
                <a:cs typeface="Times New Roman" panose="02020603050405020304" pitchFamily="18" charset="0"/>
              </a:rPr>
              <a:t>0%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резиденты и нерезиденты РК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28"/>
          <p:cNvSpPr/>
          <p:nvPr/>
        </p:nvSpPr>
        <p:spPr>
          <a:xfrm>
            <a:off x="3305724" y="2695659"/>
            <a:ext cx="1360639" cy="112055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chemeClr val="accent5"/>
                </a:solidFill>
                <a:cs typeface="Times New Roman" panose="02020603050405020304" pitchFamily="18" charset="0"/>
              </a:rPr>
              <a:t>15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резиденты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4"/>
          <p:cNvSpPr/>
          <p:nvPr/>
        </p:nvSpPr>
        <p:spPr>
          <a:xfrm>
            <a:off x="502533" y="4519186"/>
            <a:ext cx="11238362" cy="1265334"/>
          </a:xfrm>
          <a:prstGeom prst="rect">
            <a:avLst/>
          </a:prstGeom>
          <a:noFill/>
          <a:ln>
            <a:solidFill>
              <a:srgbClr val="ED8B00"/>
            </a:solidFill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630238" indent="173038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владение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акциями или долями участия,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олее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трех лет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630238" indent="173038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юридическое лицо-резидент, выплачивающее дивиденды, не является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дропользователем;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630238" indent="173038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имущество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лиц, являющихся недропользователями,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в стоимости активов юридического лица-резидента, выплачивающего дивиденды, на день выплаты дивидендов составляет не более 50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%.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47"/>
          <p:cNvSpPr/>
          <p:nvPr/>
        </p:nvSpPr>
        <p:spPr>
          <a:xfrm>
            <a:off x="4738978" y="2690670"/>
            <a:ext cx="1334940" cy="1111724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chemeClr val="accent5"/>
                </a:solidFill>
                <a:cs typeface="Times New Roman" panose="02020603050405020304" pitchFamily="18" charset="0"/>
              </a:rPr>
              <a:t>0%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нерезиденты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67"/>
          <p:cNvSpPr/>
          <p:nvPr/>
        </p:nvSpPr>
        <p:spPr>
          <a:xfrm>
            <a:off x="1744343" y="2714612"/>
            <a:ext cx="1481371" cy="1105685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chemeClr val="accent5"/>
                </a:solidFill>
                <a:cs typeface="Times New Roman" panose="02020603050405020304" pitchFamily="18" charset="0"/>
              </a:rPr>
              <a:t>20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резиденты (офшор)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9" name="Стрелка вниз 72"/>
          <p:cNvSpPr/>
          <p:nvPr/>
        </p:nvSpPr>
        <p:spPr>
          <a:xfrm>
            <a:off x="7870672" y="1738016"/>
            <a:ext cx="216024" cy="2434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0" name="Прямоугольник 79"/>
          <p:cNvSpPr/>
          <p:nvPr/>
        </p:nvSpPr>
        <p:spPr>
          <a:xfrm>
            <a:off x="2090738" y="2006392"/>
            <a:ext cx="3860800" cy="382453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Юридические лица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80"/>
          <p:cNvSpPr/>
          <p:nvPr/>
        </p:nvSpPr>
        <p:spPr>
          <a:xfrm>
            <a:off x="6253163" y="2008034"/>
            <a:ext cx="3970700" cy="379543"/>
          </a:xfrm>
          <a:prstGeom prst="rect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Физические лица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42" name="Стрелка вниз 97"/>
          <p:cNvSpPr/>
          <p:nvPr/>
        </p:nvSpPr>
        <p:spPr>
          <a:xfrm>
            <a:off x="6837219" y="3825254"/>
            <a:ext cx="271907" cy="504000"/>
          </a:xfrm>
          <a:prstGeom prst="downArrow">
            <a:avLst>
              <a:gd name="adj1" fmla="val 50000"/>
              <a:gd name="adj2" fmla="val 77734"/>
            </a:avLst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3" name="Стрелка вниз 98"/>
          <p:cNvSpPr/>
          <p:nvPr/>
        </p:nvSpPr>
        <p:spPr>
          <a:xfrm>
            <a:off x="5289709" y="3842441"/>
            <a:ext cx="271907" cy="504000"/>
          </a:xfrm>
          <a:prstGeom prst="downArrow">
            <a:avLst>
              <a:gd name="adj1" fmla="val 50000"/>
              <a:gd name="adj2" fmla="val 77734"/>
            </a:avLst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4" name="Стрелка вниз 99"/>
          <p:cNvSpPr/>
          <p:nvPr/>
        </p:nvSpPr>
        <p:spPr>
          <a:xfrm>
            <a:off x="5317651" y="2438432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5" name="Стрелка вниз 100"/>
          <p:cNvSpPr/>
          <p:nvPr/>
        </p:nvSpPr>
        <p:spPr>
          <a:xfrm>
            <a:off x="3855581" y="2423564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6" name="Стрелка вниз 101"/>
          <p:cNvSpPr/>
          <p:nvPr/>
        </p:nvSpPr>
        <p:spPr>
          <a:xfrm>
            <a:off x="2433166" y="2431125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7" name="Стрелка вниз 102"/>
          <p:cNvSpPr/>
          <p:nvPr/>
        </p:nvSpPr>
        <p:spPr>
          <a:xfrm>
            <a:off x="9436584" y="2438432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8" name="Стрелка вниз 103"/>
          <p:cNvSpPr/>
          <p:nvPr/>
        </p:nvSpPr>
        <p:spPr>
          <a:xfrm>
            <a:off x="6837219" y="2438432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9" name="Скругленный прямоугольник 21"/>
          <p:cNvSpPr/>
          <p:nvPr/>
        </p:nvSpPr>
        <p:spPr>
          <a:xfrm>
            <a:off x="8986600" y="2701896"/>
            <a:ext cx="1379808" cy="1104417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86BC25"/>
                </a:solidFill>
                <a:cs typeface="Times New Roman" panose="02020603050405020304" pitchFamily="18" charset="0"/>
              </a:rPr>
              <a:t>15% </a:t>
            </a:r>
            <a:r>
              <a:rPr lang="ru-RU" sz="1400" b="1" dirty="0" smtClean="0">
                <a:cs typeface="Times New Roman" panose="02020603050405020304" pitchFamily="18" charset="0"/>
              </a:rPr>
              <a:t>ФЛ нерезиденты РК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50" name="Стрелка вниз 23"/>
          <p:cNvSpPr/>
          <p:nvPr/>
        </p:nvSpPr>
        <p:spPr>
          <a:xfrm>
            <a:off x="8205394" y="2438600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1" name="Стрелка вниз 100"/>
          <p:cNvSpPr/>
          <p:nvPr/>
        </p:nvSpPr>
        <p:spPr>
          <a:xfrm>
            <a:off x="3847922" y="1734586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grpSp>
        <p:nvGrpSpPr>
          <p:cNvPr id="52" name="Group 521"/>
          <p:cNvGrpSpPr>
            <a:grpSpLocks noChangeAspect="1"/>
          </p:cNvGrpSpPr>
          <p:nvPr/>
        </p:nvGrpSpPr>
        <p:grpSpPr bwMode="auto">
          <a:xfrm>
            <a:off x="589030" y="4845853"/>
            <a:ext cx="612000" cy="612000"/>
            <a:chOff x="3476" y="2032"/>
            <a:chExt cx="340" cy="340"/>
          </a:xfrm>
          <a:solidFill>
            <a:srgbClr val="ED8B00"/>
          </a:solidFill>
        </p:grpSpPr>
        <p:sp>
          <p:nvSpPr>
            <p:cNvPr id="53" name="Freeform 522"/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23"/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24"/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100915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зменения и дополнения, вводимые в действие с </a:t>
            </a:r>
            <a:r>
              <a:rPr lang="ru-RU" dirty="0" smtClean="0"/>
              <a:t>2023 г</a:t>
            </a:r>
            <a:r>
              <a:rPr lang="ru-RU" dirty="0"/>
              <a:t>.</a:t>
            </a:r>
          </a:p>
        </p:txBody>
      </p:sp>
      <p:sp>
        <p:nvSpPr>
          <p:cNvPr id="32" name="Прямоугольник 10"/>
          <p:cNvSpPr/>
          <p:nvPr/>
        </p:nvSpPr>
        <p:spPr>
          <a:xfrm>
            <a:off x="1068404" y="1260211"/>
            <a:ext cx="10088812" cy="433504"/>
          </a:xfrm>
          <a:prstGeom prst="roundRect">
            <a:avLst/>
          </a:prstGeom>
          <a:solidFill>
            <a:srgbClr val="005587"/>
          </a:solidFill>
          <a:ln>
            <a:solidFill>
              <a:schemeClr val="accent6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алогообложение дивидендов в 2023 году</a:t>
            </a:r>
            <a:endParaRPr lang="ru-RU" sz="16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Скругленный прямоугольник 3"/>
          <p:cNvSpPr/>
          <p:nvPr/>
        </p:nvSpPr>
        <p:spPr>
          <a:xfrm>
            <a:off x="7757058" y="2695188"/>
            <a:ext cx="1147415" cy="10830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15</a:t>
            </a:r>
            <a:r>
              <a:rPr lang="ru-RU" sz="1400" b="1" dirty="0" smtClean="0">
                <a:solidFill>
                  <a:srgbClr val="86BC25"/>
                </a:solidFill>
                <a:cs typeface="Times New Roman" panose="02020603050405020304" pitchFamily="18" charset="0"/>
              </a:rPr>
              <a:t>%</a:t>
            </a:r>
            <a:r>
              <a:rPr lang="ru-RU" sz="1400" b="1" dirty="0" smtClean="0">
                <a:cs typeface="Times New Roman" panose="02020603050405020304" pitchFamily="18" charset="0"/>
              </a:rPr>
              <a:t> ФЛ резиденты РК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22"/>
          <p:cNvSpPr/>
          <p:nvPr/>
        </p:nvSpPr>
        <p:spPr>
          <a:xfrm>
            <a:off x="6306872" y="2690670"/>
            <a:ext cx="1332603" cy="1087577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10%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резиденты и нерезиденты РК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28"/>
          <p:cNvSpPr/>
          <p:nvPr/>
        </p:nvSpPr>
        <p:spPr>
          <a:xfrm>
            <a:off x="3305724" y="2695659"/>
            <a:ext cx="1360639" cy="112055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chemeClr val="accent5"/>
                </a:solidFill>
                <a:cs typeface="Times New Roman" panose="02020603050405020304" pitchFamily="18" charset="0"/>
              </a:rPr>
              <a:t>15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резиденты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47"/>
          <p:cNvSpPr/>
          <p:nvPr/>
        </p:nvSpPr>
        <p:spPr>
          <a:xfrm>
            <a:off x="4738978" y="2690670"/>
            <a:ext cx="1334940" cy="1111724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10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резиденты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67"/>
          <p:cNvSpPr/>
          <p:nvPr/>
        </p:nvSpPr>
        <p:spPr>
          <a:xfrm>
            <a:off x="1744343" y="2714612"/>
            <a:ext cx="1481371" cy="1105685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ПН у ИВ </a:t>
            </a:r>
            <a:r>
              <a:rPr lang="ru-RU" sz="1400" b="1" dirty="0" smtClean="0">
                <a:solidFill>
                  <a:schemeClr val="accent5"/>
                </a:solidFill>
                <a:cs typeface="Times New Roman" panose="02020603050405020304" pitchFamily="18" charset="0"/>
              </a:rPr>
              <a:t>20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резиденты (офшор)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9" name="Стрелка вниз 72"/>
          <p:cNvSpPr/>
          <p:nvPr/>
        </p:nvSpPr>
        <p:spPr>
          <a:xfrm>
            <a:off x="7870672" y="1738016"/>
            <a:ext cx="216024" cy="2434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0" name="Прямоугольник 79"/>
          <p:cNvSpPr/>
          <p:nvPr/>
        </p:nvSpPr>
        <p:spPr>
          <a:xfrm>
            <a:off x="2090738" y="2006392"/>
            <a:ext cx="3860800" cy="382453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Юридические лица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80"/>
          <p:cNvSpPr/>
          <p:nvPr/>
        </p:nvSpPr>
        <p:spPr>
          <a:xfrm>
            <a:off x="6253163" y="2008034"/>
            <a:ext cx="3970700" cy="379543"/>
          </a:xfrm>
          <a:prstGeom prst="rect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Физические лица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42" name="Стрелка вниз 97"/>
          <p:cNvSpPr/>
          <p:nvPr/>
        </p:nvSpPr>
        <p:spPr>
          <a:xfrm>
            <a:off x="6837219" y="3825254"/>
            <a:ext cx="271907" cy="504000"/>
          </a:xfrm>
          <a:prstGeom prst="downArrow">
            <a:avLst>
              <a:gd name="adj1" fmla="val 50000"/>
              <a:gd name="adj2" fmla="val 77734"/>
            </a:avLst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3" name="Стрелка вниз 98"/>
          <p:cNvSpPr/>
          <p:nvPr/>
        </p:nvSpPr>
        <p:spPr>
          <a:xfrm>
            <a:off x="5289709" y="3842441"/>
            <a:ext cx="271907" cy="504000"/>
          </a:xfrm>
          <a:prstGeom prst="downArrow">
            <a:avLst>
              <a:gd name="adj1" fmla="val 50000"/>
              <a:gd name="adj2" fmla="val 77734"/>
            </a:avLst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4" name="Стрелка вниз 99"/>
          <p:cNvSpPr/>
          <p:nvPr/>
        </p:nvSpPr>
        <p:spPr>
          <a:xfrm>
            <a:off x="5317651" y="2438432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5" name="Стрелка вниз 100"/>
          <p:cNvSpPr/>
          <p:nvPr/>
        </p:nvSpPr>
        <p:spPr>
          <a:xfrm>
            <a:off x="3855581" y="2423564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6" name="Стрелка вниз 101"/>
          <p:cNvSpPr/>
          <p:nvPr/>
        </p:nvSpPr>
        <p:spPr>
          <a:xfrm>
            <a:off x="2433166" y="2431125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47" name="Стрелка вниз 102"/>
          <p:cNvSpPr/>
          <p:nvPr/>
        </p:nvSpPr>
        <p:spPr>
          <a:xfrm>
            <a:off x="9436584" y="2438432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8" name="Стрелка вниз 103"/>
          <p:cNvSpPr/>
          <p:nvPr/>
        </p:nvSpPr>
        <p:spPr>
          <a:xfrm>
            <a:off x="6837219" y="2438432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9" name="Скругленный прямоугольник 21"/>
          <p:cNvSpPr/>
          <p:nvPr/>
        </p:nvSpPr>
        <p:spPr>
          <a:xfrm>
            <a:off x="8986600" y="2701896"/>
            <a:ext cx="1379808" cy="1104417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10%</a:t>
            </a:r>
            <a:r>
              <a:rPr lang="ru-RU" sz="1400" b="1" dirty="0" smtClean="0">
                <a:solidFill>
                  <a:srgbClr val="86BC25"/>
                </a:solidFill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cs typeface="Times New Roman" panose="02020603050405020304" pitchFamily="18" charset="0"/>
              </a:rPr>
              <a:t>ФЛ нерезиденты РК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50" name="Стрелка вниз 23"/>
          <p:cNvSpPr/>
          <p:nvPr/>
        </p:nvSpPr>
        <p:spPr>
          <a:xfrm>
            <a:off x="8205394" y="2438600"/>
            <a:ext cx="216024" cy="243440"/>
          </a:xfrm>
          <a:prstGeom prst="downArrow">
            <a:avLst/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1" name="Стрелка вниз 100"/>
          <p:cNvSpPr/>
          <p:nvPr/>
        </p:nvSpPr>
        <p:spPr>
          <a:xfrm>
            <a:off x="3847922" y="1734586"/>
            <a:ext cx="216024" cy="243440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28" name="Скругленный прямоугольник 22"/>
          <p:cNvSpPr/>
          <p:nvPr/>
        </p:nvSpPr>
        <p:spPr>
          <a:xfrm>
            <a:off x="8961772" y="4169778"/>
            <a:ext cx="1404636" cy="108757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ИПН </a:t>
            </a:r>
            <a:r>
              <a:rPr lang="ru-RU" sz="1400" b="1" dirty="0" smtClean="0">
                <a:solidFill>
                  <a:srgbClr val="8DC63F"/>
                </a:solidFill>
                <a:cs typeface="Times New Roman" panose="02020603050405020304" pitchFamily="18" charset="0"/>
              </a:rPr>
              <a:t>0% </a:t>
            </a:r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резиденты РК</a:t>
            </a:r>
            <a:endParaRPr lang="ru-RU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34"/>
          <p:cNvSpPr/>
          <p:nvPr/>
        </p:nvSpPr>
        <p:spPr>
          <a:xfrm>
            <a:off x="457199" y="4402329"/>
            <a:ext cx="8447273" cy="1185671"/>
          </a:xfrm>
          <a:prstGeom prst="rect">
            <a:avLst/>
          </a:prstGeom>
          <a:noFill/>
          <a:ln>
            <a:solidFill>
              <a:srgbClr val="ED8B00"/>
            </a:solidFill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717550" indent="8890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владение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акциями или долями участия,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более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трех лет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;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717550" indent="8890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юридическое лицо-резидент, выплачивающее дивиденды, не является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дропользователем;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717550" indent="8890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имущество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лиц, являющихся недропользователями, </a:t>
            </a: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</a:rPr>
              <a:t>в стоимости активов юридического лица-резидента, выплачивающего дивиденды, на день выплаты дивидендов составляет не более 50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%.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21"/>
          <p:cNvSpPr/>
          <p:nvPr/>
        </p:nvSpPr>
        <p:spPr>
          <a:xfrm>
            <a:off x="6837219" y="5684305"/>
            <a:ext cx="4903676" cy="628906"/>
          </a:xfrm>
          <a:prstGeom prst="rect">
            <a:avLst/>
          </a:prstGeom>
          <a:noFill/>
          <a:ln>
            <a:solidFill>
              <a:srgbClr val="86BC2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До 30 000 МРП </a:t>
            </a:r>
            <a:r>
              <a:rPr lang="ru-RU" sz="14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е облагаются (около 220 000 тысяч долларов) </a:t>
            </a:r>
            <a:endParaRPr lang="ru-RU" sz="1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57" name="Group 521"/>
          <p:cNvGrpSpPr>
            <a:grpSpLocks noChangeAspect="1"/>
          </p:cNvGrpSpPr>
          <p:nvPr/>
        </p:nvGrpSpPr>
        <p:grpSpPr bwMode="auto">
          <a:xfrm>
            <a:off x="548390" y="4731882"/>
            <a:ext cx="612000" cy="612000"/>
            <a:chOff x="3476" y="2032"/>
            <a:chExt cx="340" cy="340"/>
          </a:xfrm>
          <a:solidFill>
            <a:srgbClr val="ED8B00"/>
          </a:solidFill>
        </p:grpSpPr>
        <p:sp>
          <p:nvSpPr>
            <p:cNvPr id="58" name="Freeform 522"/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23"/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24"/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1" name="Стрелка вниз 97"/>
          <p:cNvSpPr/>
          <p:nvPr/>
        </p:nvSpPr>
        <p:spPr>
          <a:xfrm>
            <a:off x="9563158" y="3848025"/>
            <a:ext cx="271907" cy="288000"/>
          </a:xfrm>
          <a:prstGeom prst="downArrow">
            <a:avLst>
              <a:gd name="adj1" fmla="val 50000"/>
              <a:gd name="adj2" fmla="val 77734"/>
            </a:avLst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62" name="Стрелка вниз 97"/>
          <p:cNvSpPr/>
          <p:nvPr/>
        </p:nvSpPr>
        <p:spPr>
          <a:xfrm>
            <a:off x="9544596" y="5291108"/>
            <a:ext cx="271907" cy="288000"/>
          </a:xfrm>
          <a:prstGeom prst="downArrow">
            <a:avLst>
              <a:gd name="adj1" fmla="val 50000"/>
              <a:gd name="adj2" fmla="val 77734"/>
            </a:avLst>
          </a:prstGeom>
          <a:solidFill>
            <a:srgbClr val="86BC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085741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63294" y="345994"/>
            <a:ext cx="11277601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55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bg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собенности налогообложения в Казахстане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716544"/>
            <a:ext cx="11283695" cy="386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SzPct val="100000"/>
              <a:buFont typeface="Arial" panose="020B0604020202020204" pitchFamily="34" charset="0"/>
              <a:buNone/>
              <a:defRPr sz="1800" b="0" kern="1200">
                <a:solidFill>
                  <a:srgbClr val="BBBCBC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79998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59996" indent="-179998" algn="l" defTabSz="121915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39994" indent="-179998" algn="l" defTabSz="1064645" rtl="0" eaLnBrk="1" latinLnBrk="0" hangingPunct="1"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73" indent="-235191" algn="l" defTabSz="1219155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Обсуждаемые поправки в налоговом законодательстве РК</a:t>
            </a:r>
          </a:p>
        </p:txBody>
      </p:sp>
      <p:sp>
        <p:nvSpPr>
          <p:cNvPr id="36" name="梯形 46"/>
          <p:cNvSpPr/>
          <p:nvPr/>
        </p:nvSpPr>
        <p:spPr bwMode="gray">
          <a:xfrm flipV="1">
            <a:off x="4373231" y="4151500"/>
            <a:ext cx="97504" cy="226788"/>
          </a:xfrm>
          <a:prstGeom prst="trapezoid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2" name="梯形 51"/>
          <p:cNvSpPr/>
          <p:nvPr/>
        </p:nvSpPr>
        <p:spPr bwMode="gray">
          <a:xfrm flipV="1">
            <a:off x="7734545" y="4151500"/>
            <a:ext cx="97504" cy="226788"/>
          </a:xfrm>
          <a:prstGeom prst="trapezoid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3" name="梯形 42"/>
          <p:cNvSpPr/>
          <p:nvPr/>
        </p:nvSpPr>
        <p:spPr bwMode="gray">
          <a:xfrm>
            <a:off x="9380730" y="2701157"/>
            <a:ext cx="97504" cy="226788"/>
          </a:xfrm>
          <a:prstGeom prst="trapezoid">
            <a:avLst/>
          </a:prstGeom>
          <a:solidFill>
            <a:srgbClr val="046A38"/>
          </a:solidFill>
          <a:ln w="1905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4" name="梯形 38"/>
          <p:cNvSpPr/>
          <p:nvPr/>
        </p:nvSpPr>
        <p:spPr bwMode="gray">
          <a:xfrm>
            <a:off x="6039014" y="2701157"/>
            <a:ext cx="97504" cy="226788"/>
          </a:xfrm>
          <a:prstGeom prst="trapezoid">
            <a:avLst/>
          </a:prstGeom>
          <a:solidFill>
            <a:srgbClr val="43B02A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椭圆 19"/>
          <p:cNvSpPr/>
          <p:nvPr/>
        </p:nvSpPr>
        <p:spPr bwMode="gray">
          <a:xfrm>
            <a:off x="2147486" y="2924296"/>
            <a:ext cx="1216257" cy="1216256"/>
          </a:xfrm>
          <a:prstGeom prst="ellipse">
            <a:avLst/>
          </a:prstGeom>
          <a:noFill/>
          <a:ln w="57150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6" name="椭圆 40"/>
          <p:cNvSpPr/>
          <p:nvPr/>
        </p:nvSpPr>
        <p:spPr bwMode="gray">
          <a:xfrm>
            <a:off x="1923311" y="2699533"/>
            <a:ext cx="1665784" cy="1665784"/>
          </a:xfrm>
          <a:custGeom>
            <a:avLst/>
            <a:gdLst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0 w 1581264"/>
              <a:gd name="connsiteY4" fmla="*/ 790632 h 1581264"/>
              <a:gd name="connsiteX0" fmla="*/ 790632 w 1581264"/>
              <a:gd name="connsiteY0" fmla="*/ 1581264 h 1672704"/>
              <a:gd name="connsiteX1" fmla="*/ 0 w 1581264"/>
              <a:gd name="connsiteY1" fmla="*/ 790632 h 1672704"/>
              <a:gd name="connsiteX2" fmla="*/ 790632 w 1581264"/>
              <a:gd name="connsiteY2" fmla="*/ 0 h 1672704"/>
              <a:gd name="connsiteX3" fmla="*/ 1581264 w 1581264"/>
              <a:gd name="connsiteY3" fmla="*/ 790632 h 1672704"/>
              <a:gd name="connsiteX4" fmla="*/ 882072 w 1581264"/>
              <a:gd name="connsiteY4" fmla="*/ 1672704 h 1672704"/>
              <a:gd name="connsiteX0" fmla="*/ 790632 w 1581264"/>
              <a:gd name="connsiteY0" fmla="*/ 1581264 h 1581264"/>
              <a:gd name="connsiteX1" fmla="*/ 0 w 1581264"/>
              <a:gd name="connsiteY1" fmla="*/ 790632 h 1581264"/>
              <a:gd name="connsiteX2" fmla="*/ 790632 w 1581264"/>
              <a:gd name="connsiteY2" fmla="*/ 0 h 1581264"/>
              <a:gd name="connsiteX3" fmla="*/ 1581264 w 1581264"/>
              <a:gd name="connsiteY3" fmla="*/ 790632 h 158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1264" h="1581264">
                <a:moveTo>
                  <a:pt x="790632" y="1581264"/>
                </a:moveTo>
                <a:cubicBezTo>
                  <a:pt x="353978" y="1581264"/>
                  <a:pt x="0" y="1227286"/>
                  <a:pt x="0" y="790632"/>
                </a:cubicBezTo>
                <a:cubicBezTo>
                  <a:pt x="0" y="353978"/>
                  <a:pt x="353978" y="0"/>
                  <a:pt x="790632" y="0"/>
                </a:cubicBezTo>
                <a:cubicBezTo>
                  <a:pt x="1227286" y="0"/>
                  <a:pt x="1581264" y="353978"/>
                  <a:pt x="1581264" y="790632"/>
                </a:cubicBezTo>
              </a:path>
            </a:pathLst>
          </a:custGeom>
          <a:noFill/>
          <a:ln w="28575" cap="rnd" algn="ctr">
            <a:solidFill>
              <a:srgbClr val="004F59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3" name="椭圆 21"/>
          <p:cNvSpPr/>
          <p:nvPr/>
        </p:nvSpPr>
        <p:spPr bwMode="gray">
          <a:xfrm>
            <a:off x="3813474" y="2924296"/>
            <a:ext cx="1216257" cy="1216256"/>
          </a:xfrm>
          <a:prstGeom prst="ellipse">
            <a:avLst/>
          </a:prstGeom>
          <a:noFill/>
          <a:ln w="57150" algn="ctr">
            <a:solidFill>
              <a:srgbClr val="0097A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4" name="椭圆 60"/>
          <p:cNvSpPr/>
          <p:nvPr/>
        </p:nvSpPr>
        <p:spPr bwMode="gray">
          <a:xfrm flipV="1">
            <a:off x="3589093" y="3532425"/>
            <a:ext cx="1665784" cy="832892"/>
          </a:xfrm>
          <a:custGeom>
            <a:avLst/>
            <a:gdLst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0 w 1581264"/>
              <a:gd name="connsiteY4" fmla="*/ 79063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91440 w 1581264"/>
              <a:gd name="connsiteY4" fmla="*/ 88207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0" fmla="*/ 0 w 1581264"/>
              <a:gd name="connsiteY0" fmla="*/ 790632 h 790632"/>
              <a:gd name="connsiteX1" fmla="*/ 790632 w 1581264"/>
              <a:gd name="connsiteY1" fmla="*/ 0 h 790632"/>
              <a:gd name="connsiteX2" fmla="*/ 1581264 w 1581264"/>
              <a:gd name="connsiteY2" fmla="*/ 790632 h 79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264" h="790632">
                <a:moveTo>
                  <a:pt x="0" y="790632"/>
                </a:moveTo>
                <a:cubicBezTo>
                  <a:pt x="0" y="353978"/>
                  <a:pt x="353978" y="0"/>
                  <a:pt x="790632" y="0"/>
                </a:cubicBezTo>
                <a:cubicBezTo>
                  <a:pt x="1227286" y="0"/>
                  <a:pt x="1581264" y="353978"/>
                  <a:pt x="1581264" y="790632"/>
                </a:cubicBezTo>
              </a:path>
            </a:pathLst>
          </a:custGeom>
          <a:noFill/>
          <a:ln w="28575" cap="rnd" algn="ctr">
            <a:solidFill>
              <a:srgbClr val="0097A9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5" name="椭圆 23"/>
          <p:cNvSpPr/>
          <p:nvPr/>
        </p:nvSpPr>
        <p:spPr bwMode="gray">
          <a:xfrm>
            <a:off x="5480022" y="2924296"/>
            <a:ext cx="1216257" cy="1216256"/>
          </a:xfrm>
          <a:prstGeom prst="ellipse">
            <a:avLst/>
          </a:prstGeom>
          <a:noFill/>
          <a:ln w="57150" algn="ctr">
            <a:solidFill>
              <a:srgbClr val="43B02A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椭圆 64"/>
          <p:cNvSpPr/>
          <p:nvPr/>
        </p:nvSpPr>
        <p:spPr bwMode="gray">
          <a:xfrm>
            <a:off x="5254875" y="2699533"/>
            <a:ext cx="1665784" cy="832892"/>
          </a:xfrm>
          <a:custGeom>
            <a:avLst/>
            <a:gdLst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0 w 1581264"/>
              <a:gd name="connsiteY4" fmla="*/ 790632 h 1581264"/>
              <a:gd name="connsiteX0" fmla="*/ 790632 w 1581264"/>
              <a:gd name="connsiteY0" fmla="*/ 1581264 h 1672704"/>
              <a:gd name="connsiteX1" fmla="*/ 0 w 1581264"/>
              <a:gd name="connsiteY1" fmla="*/ 790632 h 1672704"/>
              <a:gd name="connsiteX2" fmla="*/ 790632 w 1581264"/>
              <a:gd name="connsiteY2" fmla="*/ 0 h 1672704"/>
              <a:gd name="connsiteX3" fmla="*/ 1581264 w 1581264"/>
              <a:gd name="connsiteY3" fmla="*/ 790632 h 1672704"/>
              <a:gd name="connsiteX4" fmla="*/ 882072 w 1581264"/>
              <a:gd name="connsiteY4" fmla="*/ 1672704 h 1672704"/>
              <a:gd name="connsiteX0" fmla="*/ 790632 w 1581264"/>
              <a:gd name="connsiteY0" fmla="*/ 1581264 h 1581264"/>
              <a:gd name="connsiteX1" fmla="*/ 0 w 1581264"/>
              <a:gd name="connsiteY1" fmla="*/ 790632 h 1581264"/>
              <a:gd name="connsiteX2" fmla="*/ 790632 w 1581264"/>
              <a:gd name="connsiteY2" fmla="*/ 0 h 1581264"/>
              <a:gd name="connsiteX3" fmla="*/ 1581264 w 1581264"/>
              <a:gd name="connsiteY3" fmla="*/ 790632 h 1581264"/>
              <a:gd name="connsiteX0" fmla="*/ 0 w 1581264"/>
              <a:gd name="connsiteY0" fmla="*/ 790632 h 790632"/>
              <a:gd name="connsiteX1" fmla="*/ 790632 w 1581264"/>
              <a:gd name="connsiteY1" fmla="*/ 0 h 790632"/>
              <a:gd name="connsiteX2" fmla="*/ 1581264 w 1581264"/>
              <a:gd name="connsiteY2" fmla="*/ 790632 h 79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264" h="790632">
                <a:moveTo>
                  <a:pt x="0" y="790632"/>
                </a:moveTo>
                <a:cubicBezTo>
                  <a:pt x="0" y="353978"/>
                  <a:pt x="353978" y="0"/>
                  <a:pt x="790632" y="0"/>
                </a:cubicBezTo>
                <a:cubicBezTo>
                  <a:pt x="1227286" y="0"/>
                  <a:pt x="1581264" y="353978"/>
                  <a:pt x="1581264" y="790632"/>
                </a:cubicBezTo>
              </a:path>
            </a:pathLst>
          </a:custGeom>
          <a:noFill/>
          <a:ln w="28575" cap="rnd" algn="ctr">
            <a:solidFill>
              <a:srgbClr val="43B02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7" name="椭圆 25"/>
          <p:cNvSpPr/>
          <p:nvPr/>
        </p:nvSpPr>
        <p:spPr bwMode="gray">
          <a:xfrm flipV="1">
            <a:off x="8821354" y="2936001"/>
            <a:ext cx="1216257" cy="1216256"/>
          </a:xfrm>
          <a:prstGeom prst="ellipse">
            <a:avLst/>
          </a:prstGeom>
          <a:noFill/>
          <a:ln w="5715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椭圆 67"/>
          <p:cNvSpPr/>
          <p:nvPr/>
        </p:nvSpPr>
        <p:spPr bwMode="gray">
          <a:xfrm>
            <a:off x="8596591" y="2711238"/>
            <a:ext cx="1665784" cy="1665784"/>
          </a:xfrm>
          <a:custGeom>
            <a:avLst/>
            <a:gdLst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0 w 1581264"/>
              <a:gd name="connsiteY4" fmla="*/ 79063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91440 w 1581264"/>
              <a:gd name="connsiteY4" fmla="*/ 88207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1264" h="1581264">
                <a:moveTo>
                  <a:pt x="0" y="790632"/>
                </a:moveTo>
                <a:cubicBezTo>
                  <a:pt x="0" y="353978"/>
                  <a:pt x="353978" y="0"/>
                  <a:pt x="790632" y="0"/>
                </a:cubicBezTo>
                <a:cubicBezTo>
                  <a:pt x="1227286" y="0"/>
                  <a:pt x="1581264" y="353978"/>
                  <a:pt x="1581264" y="790632"/>
                </a:cubicBezTo>
                <a:cubicBezTo>
                  <a:pt x="1581264" y="1227286"/>
                  <a:pt x="1227286" y="1581264"/>
                  <a:pt x="790632" y="1581264"/>
                </a:cubicBezTo>
              </a:path>
            </a:pathLst>
          </a:custGeom>
          <a:noFill/>
          <a:ln w="28575" cap="rnd" algn="ctr">
            <a:solidFill>
              <a:srgbClr val="046A38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9" name="等腰三角形 27"/>
          <p:cNvSpPr/>
          <p:nvPr/>
        </p:nvSpPr>
        <p:spPr bwMode="gray">
          <a:xfrm rot="16200000">
            <a:off x="2689571" y="4298510"/>
            <a:ext cx="133263" cy="133263"/>
          </a:xfrm>
          <a:prstGeom prst="triangle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0" name="椭圆 30"/>
          <p:cNvSpPr/>
          <p:nvPr/>
        </p:nvSpPr>
        <p:spPr bwMode="gray">
          <a:xfrm>
            <a:off x="7173516" y="2936001"/>
            <a:ext cx="1216257" cy="1216256"/>
          </a:xfrm>
          <a:prstGeom prst="ellipse">
            <a:avLst/>
          </a:prstGeom>
          <a:noFill/>
          <a:ln w="571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1" name="椭圆 60"/>
          <p:cNvSpPr/>
          <p:nvPr/>
        </p:nvSpPr>
        <p:spPr bwMode="gray">
          <a:xfrm flipV="1">
            <a:off x="6920657" y="3544130"/>
            <a:ext cx="1665784" cy="832892"/>
          </a:xfrm>
          <a:custGeom>
            <a:avLst/>
            <a:gdLst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0 w 1581264"/>
              <a:gd name="connsiteY4" fmla="*/ 79063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4" fmla="*/ 91440 w 1581264"/>
              <a:gd name="connsiteY4" fmla="*/ 882072 h 1581264"/>
              <a:gd name="connsiteX0" fmla="*/ 0 w 1581264"/>
              <a:gd name="connsiteY0" fmla="*/ 790632 h 1581264"/>
              <a:gd name="connsiteX1" fmla="*/ 790632 w 1581264"/>
              <a:gd name="connsiteY1" fmla="*/ 0 h 1581264"/>
              <a:gd name="connsiteX2" fmla="*/ 1581264 w 1581264"/>
              <a:gd name="connsiteY2" fmla="*/ 790632 h 1581264"/>
              <a:gd name="connsiteX3" fmla="*/ 790632 w 1581264"/>
              <a:gd name="connsiteY3" fmla="*/ 1581264 h 1581264"/>
              <a:gd name="connsiteX0" fmla="*/ 0 w 1581264"/>
              <a:gd name="connsiteY0" fmla="*/ 790632 h 790632"/>
              <a:gd name="connsiteX1" fmla="*/ 790632 w 1581264"/>
              <a:gd name="connsiteY1" fmla="*/ 0 h 790632"/>
              <a:gd name="connsiteX2" fmla="*/ 1581264 w 1581264"/>
              <a:gd name="connsiteY2" fmla="*/ 790632 h 79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264" h="790632">
                <a:moveTo>
                  <a:pt x="0" y="790632"/>
                </a:moveTo>
                <a:cubicBezTo>
                  <a:pt x="0" y="353978"/>
                  <a:pt x="353978" y="0"/>
                  <a:pt x="790632" y="0"/>
                </a:cubicBezTo>
                <a:cubicBezTo>
                  <a:pt x="1227286" y="0"/>
                  <a:pt x="1581264" y="353978"/>
                  <a:pt x="1581264" y="790632"/>
                </a:cubicBezTo>
              </a:path>
            </a:pathLst>
          </a:custGeom>
          <a:noFill/>
          <a:ln w="28575" cap="rnd" algn="ctr">
            <a:solidFill>
              <a:srgbClr val="86BC25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2" name="椭圆 39"/>
          <p:cNvSpPr/>
          <p:nvPr/>
        </p:nvSpPr>
        <p:spPr bwMode="gray">
          <a:xfrm>
            <a:off x="6039014" y="2652406"/>
            <a:ext cx="97504" cy="97504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43B02A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3" name="椭圆 43"/>
          <p:cNvSpPr/>
          <p:nvPr/>
        </p:nvSpPr>
        <p:spPr bwMode="gray">
          <a:xfrm>
            <a:off x="9380730" y="2652406"/>
            <a:ext cx="97504" cy="97504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4" name="椭圆 47"/>
          <p:cNvSpPr/>
          <p:nvPr/>
        </p:nvSpPr>
        <p:spPr bwMode="gray">
          <a:xfrm flipV="1">
            <a:off x="4373231" y="4329535"/>
            <a:ext cx="97504" cy="97504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97A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5" name="椭圆 52"/>
          <p:cNvSpPr/>
          <p:nvPr/>
        </p:nvSpPr>
        <p:spPr bwMode="gray">
          <a:xfrm flipV="1">
            <a:off x="7734545" y="4329535"/>
            <a:ext cx="97504" cy="97504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6" name="矩形 6"/>
          <p:cNvSpPr/>
          <p:nvPr/>
        </p:nvSpPr>
        <p:spPr bwMode="gray">
          <a:xfrm>
            <a:off x="9411604" y="4329535"/>
            <a:ext cx="102237" cy="102237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77" name="组合 5"/>
          <p:cNvGrpSpPr/>
          <p:nvPr/>
        </p:nvGrpSpPr>
        <p:grpSpPr>
          <a:xfrm>
            <a:off x="2707450" y="2652406"/>
            <a:ext cx="97504" cy="275540"/>
            <a:chOff x="1462613" y="2198686"/>
            <a:chExt cx="92557" cy="261559"/>
          </a:xfrm>
          <a:solidFill>
            <a:srgbClr val="004F59"/>
          </a:solidFill>
        </p:grpSpPr>
        <p:sp>
          <p:nvSpPr>
            <p:cNvPr id="78" name="梯形 4"/>
            <p:cNvSpPr/>
            <p:nvPr/>
          </p:nvSpPr>
          <p:spPr bwMode="gray">
            <a:xfrm>
              <a:off x="1462613" y="2244964"/>
              <a:ext cx="92557" cy="215281"/>
            </a:xfrm>
            <a:prstGeom prst="trapezoid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79" name="椭圆 28"/>
            <p:cNvSpPr/>
            <p:nvPr/>
          </p:nvSpPr>
          <p:spPr bwMode="gray">
            <a:xfrm>
              <a:off x="1462613" y="2198686"/>
              <a:ext cx="92557" cy="92557"/>
            </a:xfrm>
            <a:prstGeom prst="ellipse">
              <a:avLst/>
            </a:prstGeom>
            <a:grpFill/>
            <a:ln w="19050" algn="ctr">
              <a:solidFill>
                <a:srgbClr val="004F59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0" name="Rounded Rectangle 79"/>
          <p:cNvSpPr/>
          <p:nvPr/>
        </p:nvSpPr>
        <p:spPr>
          <a:xfrm>
            <a:off x="712034" y="1687242"/>
            <a:ext cx="3853079" cy="919401"/>
          </a:xfrm>
          <a:prstGeom prst="roundRect">
            <a:avLst/>
          </a:prstGeom>
          <a:ln w="28575">
            <a:solidFill>
              <a:schemeClr val="accent5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В 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2023 году будет подготовлен новый Налоговый кодекс. 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Его наиболее проблемный блок – налоговое администрирование – должен быть полностью </a:t>
            </a:r>
            <a:r>
              <a:rPr lang="ru-RU" sz="12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бновлен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2638574" y="4543352"/>
            <a:ext cx="3664321" cy="1328023"/>
          </a:xfrm>
          <a:prstGeom prst="roundRect">
            <a:avLst/>
          </a:prstGeom>
          <a:ln w="28575">
            <a:solidFill>
              <a:srgbClr val="0097A9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В рамках налоговой реформы важно рассмотреть возможность введения так называемого «налога на роскошь». Он будет взиматься при приобретении дорогостоящих объектов недвижимости, транспортных средств и не затронет средний </a:t>
            </a:r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ласс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4904066" y="1661620"/>
            <a:ext cx="2849483" cy="919401"/>
          </a:xfrm>
          <a:prstGeom prst="roundRect">
            <a:avLst/>
          </a:prstGeom>
          <a:ln w="28575">
            <a:solidFill>
              <a:schemeClr val="accent2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Предстоит также обеспечить 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полную </a:t>
            </a:r>
            <a:r>
              <a:rPr lang="ru-RU" sz="1200" b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цифровизацию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 налогового контроля, 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исключив любое очное взаимодействие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6407307" y="4563053"/>
            <a:ext cx="3254738" cy="1123712"/>
          </a:xfrm>
          <a:prstGeom prst="roundRect">
            <a:avLst/>
          </a:prstGeom>
          <a:ln w="28575">
            <a:solidFill>
              <a:schemeClr val="accent1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Еще один приоритет – повышение эффективности налогового стимулирования. Для этого следует перейти к дифференцированным налоговым ставкам в разных секторах </a:t>
            </a:r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экономики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7977402" y="1478703"/>
            <a:ext cx="3072878" cy="1123712"/>
          </a:xfrm>
          <a:prstGeom prst="roundRect">
            <a:avLst/>
          </a:prstGeom>
          <a:ln w="28575">
            <a:solidFill>
              <a:schemeClr val="accent4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ужно </a:t>
            </a:r>
            <a:r>
              <a:rPr lang="ru-RU" sz="1200" dirty="0">
                <a:solidFill>
                  <a:schemeClr val="bg1"/>
                </a:solidFill>
                <a:cs typeface="Times New Roman" panose="02020603050405020304" pitchFamily="18" charset="0"/>
              </a:rPr>
              <a:t>внедрить механизмы снижения или освобождения от корпоративного подоходного налога с прибыли, направленной на технологическую модернизацию и научные </a:t>
            </a:r>
            <a:r>
              <a:rPr lang="ru-RU" sz="1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разработки</a:t>
            </a:r>
            <a:endParaRPr lang="ru-RU" sz="1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9763252" y="5871375"/>
            <a:ext cx="19763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1400" i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Касым-Жомарт</a:t>
            </a:r>
            <a:r>
              <a:rPr lang="ru-RU" sz="1400" i="1" dirty="0">
                <a:solidFill>
                  <a:schemeClr val="bg1"/>
                </a:solidFill>
                <a:cs typeface="Times New Roman" panose="02020603050405020304" pitchFamily="18" charset="0"/>
              </a:rPr>
              <a:t> Токаев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5338912-5899-F145-8031-5937D84A3A21}"/>
              </a:ext>
            </a:extLst>
          </p:cNvPr>
          <p:cNvSpPr/>
          <p:nvPr/>
        </p:nvSpPr>
        <p:spPr>
          <a:xfrm>
            <a:off x="7729714" y="858084"/>
            <a:ext cx="338949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algn="ctr" defTabSz="913686">
              <a:buSzPct val="100000"/>
            </a:pPr>
            <a:r>
              <a:rPr lang="ru-RU" sz="1400" b="1" dirty="0">
                <a:solidFill>
                  <a:srgbClr val="86BC25"/>
                </a:solidFill>
              </a:rPr>
              <a:t>Из обращения Президента РК (1.09.2022г</a:t>
            </a:r>
            <a:r>
              <a:rPr lang="ru-RU" sz="1400" b="1" dirty="0" smtClean="0">
                <a:solidFill>
                  <a:srgbClr val="86BC25"/>
                </a:solidFill>
              </a:rPr>
              <a:t>)</a:t>
            </a:r>
            <a:endParaRPr lang="ru-RU" sz="1400" b="1" dirty="0">
              <a:solidFill>
                <a:srgbClr val="86BC25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2924" y="592672"/>
            <a:ext cx="634257" cy="634257"/>
          </a:xfrm>
          <a:prstGeom prst="rect">
            <a:avLst/>
          </a:prstGeom>
        </p:spPr>
      </p:pic>
      <p:sp>
        <p:nvSpPr>
          <p:cNvPr id="38" name="Freeform 37"/>
          <p:cNvSpPr>
            <a:spLocks noEditPoints="1"/>
          </p:cNvSpPr>
          <p:nvPr/>
        </p:nvSpPr>
        <p:spPr bwMode="auto">
          <a:xfrm>
            <a:off x="2287662" y="3048249"/>
            <a:ext cx="972000" cy="972000"/>
          </a:xfrm>
          <a:custGeom>
            <a:avLst/>
            <a:gdLst>
              <a:gd name="T0" fmla="*/ 465 w 638"/>
              <a:gd name="T1" fmla="*/ 412 h 639"/>
              <a:gd name="T2" fmla="*/ 452 w 638"/>
              <a:gd name="T3" fmla="*/ 146 h 639"/>
              <a:gd name="T4" fmla="*/ 266 w 638"/>
              <a:gd name="T5" fmla="*/ 133 h 639"/>
              <a:gd name="T6" fmla="*/ 465 w 638"/>
              <a:gd name="T7" fmla="*/ 119 h 639"/>
              <a:gd name="T8" fmla="*/ 479 w 638"/>
              <a:gd name="T9" fmla="*/ 399 h 639"/>
              <a:gd name="T10" fmla="*/ 412 w 638"/>
              <a:gd name="T11" fmla="*/ 466 h 639"/>
              <a:gd name="T12" fmla="*/ 399 w 638"/>
              <a:gd name="T13" fmla="*/ 199 h 639"/>
              <a:gd name="T14" fmla="*/ 213 w 638"/>
              <a:gd name="T15" fmla="*/ 186 h 639"/>
              <a:gd name="T16" fmla="*/ 412 w 638"/>
              <a:gd name="T17" fmla="*/ 173 h 639"/>
              <a:gd name="T18" fmla="*/ 426 w 638"/>
              <a:gd name="T19" fmla="*/ 452 h 639"/>
              <a:gd name="T20" fmla="*/ 359 w 638"/>
              <a:gd name="T21" fmla="*/ 519 h 639"/>
              <a:gd name="T22" fmla="*/ 159 w 638"/>
              <a:gd name="T23" fmla="*/ 506 h 639"/>
              <a:gd name="T24" fmla="*/ 173 w 638"/>
              <a:gd name="T25" fmla="*/ 226 h 639"/>
              <a:gd name="T26" fmla="*/ 372 w 638"/>
              <a:gd name="T27" fmla="*/ 239 h 639"/>
              <a:gd name="T28" fmla="*/ 319 w 638"/>
              <a:gd name="T29" fmla="*/ 0 h 639"/>
              <a:gd name="T30" fmla="*/ 319 w 638"/>
              <a:gd name="T31" fmla="*/ 639 h 639"/>
              <a:gd name="T32" fmla="*/ 319 w 638"/>
              <a:gd name="T33" fmla="*/ 0 h 639"/>
              <a:gd name="T34" fmla="*/ 319 w 638"/>
              <a:gd name="T35" fmla="*/ 439 h 639"/>
              <a:gd name="T36" fmla="*/ 319 w 638"/>
              <a:gd name="T37" fmla="*/ 466 h 639"/>
              <a:gd name="T38" fmla="*/ 199 w 638"/>
              <a:gd name="T39" fmla="*/ 452 h 639"/>
              <a:gd name="T40" fmla="*/ 213 w 638"/>
              <a:gd name="T41" fmla="*/ 386 h 639"/>
              <a:gd name="T42" fmla="*/ 332 w 638"/>
              <a:gd name="T43" fmla="*/ 399 h 639"/>
              <a:gd name="T44" fmla="*/ 213 w 638"/>
              <a:gd name="T45" fmla="*/ 412 h 639"/>
              <a:gd name="T46" fmla="*/ 213 w 638"/>
              <a:gd name="T47" fmla="*/ 386 h 639"/>
              <a:gd name="T48" fmla="*/ 319 w 638"/>
              <a:gd name="T49" fmla="*/ 332 h 639"/>
              <a:gd name="T50" fmla="*/ 319 w 638"/>
              <a:gd name="T51" fmla="*/ 359 h 639"/>
              <a:gd name="T52" fmla="*/ 199 w 638"/>
              <a:gd name="T53" fmla="*/ 346 h 639"/>
              <a:gd name="T54" fmla="*/ 213 w 638"/>
              <a:gd name="T55" fmla="*/ 279 h 639"/>
              <a:gd name="T56" fmla="*/ 332 w 638"/>
              <a:gd name="T57" fmla="*/ 293 h 639"/>
              <a:gd name="T58" fmla="*/ 213 w 638"/>
              <a:gd name="T59" fmla="*/ 306 h 639"/>
              <a:gd name="T60" fmla="*/ 213 w 638"/>
              <a:gd name="T61" fmla="*/ 279 h 639"/>
              <a:gd name="T62" fmla="*/ 346 w 638"/>
              <a:gd name="T63" fmla="*/ 492 h 639"/>
              <a:gd name="T64" fmla="*/ 186 w 638"/>
              <a:gd name="T65" fmla="*/ 253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38" h="639">
                <a:moveTo>
                  <a:pt x="479" y="399"/>
                </a:moveTo>
                <a:cubicBezTo>
                  <a:pt x="479" y="406"/>
                  <a:pt x="473" y="412"/>
                  <a:pt x="465" y="412"/>
                </a:cubicBezTo>
                <a:cubicBezTo>
                  <a:pt x="458" y="412"/>
                  <a:pt x="452" y="406"/>
                  <a:pt x="452" y="399"/>
                </a:cubicBezTo>
                <a:cubicBezTo>
                  <a:pt x="452" y="146"/>
                  <a:pt x="452" y="146"/>
                  <a:pt x="452" y="146"/>
                </a:cubicBezTo>
                <a:cubicBezTo>
                  <a:pt x="279" y="146"/>
                  <a:pt x="279" y="146"/>
                  <a:pt x="279" y="146"/>
                </a:cubicBezTo>
                <a:cubicBezTo>
                  <a:pt x="272" y="146"/>
                  <a:pt x="266" y="140"/>
                  <a:pt x="266" y="133"/>
                </a:cubicBezTo>
                <a:cubicBezTo>
                  <a:pt x="266" y="125"/>
                  <a:pt x="272" y="119"/>
                  <a:pt x="279" y="119"/>
                </a:cubicBezTo>
                <a:cubicBezTo>
                  <a:pt x="465" y="119"/>
                  <a:pt x="465" y="119"/>
                  <a:pt x="465" y="119"/>
                </a:cubicBezTo>
                <a:cubicBezTo>
                  <a:pt x="473" y="119"/>
                  <a:pt x="479" y="125"/>
                  <a:pt x="479" y="133"/>
                </a:cubicBezTo>
                <a:cubicBezTo>
                  <a:pt x="479" y="399"/>
                  <a:pt x="479" y="399"/>
                  <a:pt x="479" y="399"/>
                </a:cubicBezTo>
                <a:close/>
                <a:moveTo>
                  <a:pt x="426" y="452"/>
                </a:moveTo>
                <a:cubicBezTo>
                  <a:pt x="426" y="460"/>
                  <a:pt x="420" y="466"/>
                  <a:pt x="412" y="466"/>
                </a:cubicBezTo>
                <a:cubicBezTo>
                  <a:pt x="405" y="466"/>
                  <a:pt x="399" y="460"/>
                  <a:pt x="399" y="452"/>
                </a:cubicBezTo>
                <a:cubicBezTo>
                  <a:pt x="399" y="199"/>
                  <a:pt x="399" y="199"/>
                  <a:pt x="399" y="199"/>
                </a:cubicBezTo>
                <a:cubicBezTo>
                  <a:pt x="226" y="199"/>
                  <a:pt x="226" y="199"/>
                  <a:pt x="226" y="199"/>
                </a:cubicBezTo>
                <a:cubicBezTo>
                  <a:pt x="218" y="199"/>
                  <a:pt x="213" y="193"/>
                  <a:pt x="213" y="186"/>
                </a:cubicBezTo>
                <a:cubicBezTo>
                  <a:pt x="213" y="179"/>
                  <a:pt x="218" y="173"/>
                  <a:pt x="226" y="173"/>
                </a:cubicBezTo>
                <a:cubicBezTo>
                  <a:pt x="412" y="173"/>
                  <a:pt x="412" y="173"/>
                  <a:pt x="412" y="173"/>
                </a:cubicBezTo>
                <a:cubicBezTo>
                  <a:pt x="420" y="173"/>
                  <a:pt x="426" y="179"/>
                  <a:pt x="426" y="186"/>
                </a:cubicBezTo>
                <a:cubicBezTo>
                  <a:pt x="426" y="452"/>
                  <a:pt x="426" y="452"/>
                  <a:pt x="426" y="452"/>
                </a:cubicBezTo>
                <a:close/>
                <a:moveTo>
                  <a:pt x="372" y="506"/>
                </a:moveTo>
                <a:cubicBezTo>
                  <a:pt x="372" y="513"/>
                  <a:pt x="366" y="519"/>
                  <a:pt x="359" y="519"/>
                </a:cubicBezTo>
                <a:cubicBezTo>
                  <a:pt x="173" y="519"/>
                  <a:pt x="173" y="519"/>
                  <a:pt x="173" y="519"/>
                </a:cubicBezTo>
                <a:cubicBezTo>
                  <a:pt x="165" y="519"/>
                  <a:pt x="159" y="513"/>
                  <a:pt x="159" y="506"/>
                </a:cubicBezTo>
                <a:cubicBezTo>
                  <a:pt x="159" y="239"/>
                  <a:pt x="159" y="239"/>
                  <a:pt x="159" y="239"/>
                </a:cubicBezTo>
                <a:cubicBezTo>
                  <a:pt x="159" y="232"/>
                  <a:pt x="165" y="226"/>
                  <a:pt x="173" y="226"/>
                </a:cubicBezTo>
                <a:cubicBezTo>
                  <a:pt x="359" y="226"/>
                  <a:pt x="359" y="226"/>
                  <a:pt x="359" y="226"/>
                </a:cubicBezTo>
                <a:cubicBezTo>
                  <a:pt x="366" y="226"/>
                  <a:pt x="372" y="232"/>
                  <a:pt x="372" y="239"/>
                </a:cubicBezTo>
                <a:cubicBezTo>
                  <a:pt x="372" y="506"/>
                  <a:pt x="372" y="506"/>
                  <a:pt x="372" y="506"/>
                </a:cubicBezTo>
                <a:close/>
                <a:moveTo>
                  <a:pt x="319" y="0"/>
                </a:moveTo>
                <a:cubicBezTo>
                  <a:pt x="143" y="0"/>
                  <a:pt x="0" y="143"/>
                  <a:pt x="0" y="319"/>
                </a:cubicBezTo>
                <a:cubicBezTo>
                  <a:pt x="0" y="496"/>
                  <a:pt x="143" y="639"/>
                  <a:pt x="319" y="639"/>
                </a:cubicBezTo>
                <a:cubicBezTo>
                  <a:pt x="495" y="639"/>
                  <a:pt x="638" y="496"/>
                  <a:pt x="638" y="319"/>
                </a:cubicBezTo>
                <a:cubicBezTo>
                  <a:pt x="638" y="143"/>
                  <a:pt x="495" y="0"/>
                  <a:pt x="319" y="0"/>
                </a:cubicBezTo>
                <a:close/>
                <a:moveTo>
                  <a:pt x="213" y="439"/>
                </a:moveTo>
                <a:cubicBezTo>
                  <a:pt x="319" y="439"/>
                  <a:pt x="319" y="439"/>
                  <a:pt x="319" y="439"/>
                </a:cubicBezTo>
                <a:cubicBezTo>
                  <a:pt x="326" y="439"/>
                  <a:pt x="332" y="445"/>
                  <a:pt x="332" y="452"/>
                </a:cubicBezTo>
                <a:cubicBezTo>
                  <a:pt x="332" y="460"/>
                  <a:pt x="326" y="466"/>
                  <a:pt x="319" y="466"/>
                </a:cubicBezTo>
                <a:cubicBezTo>
                  <a:pt x="213" y="466"/>
                  <a:pt x="213" y="466"/>
                  <a:pt x="213" y="466"/>
                </a:cubicBezTo>
                <a:cubicBezTo>
                  <a:pt x="205" y="466"/>
                  <a:pt x="199" y="460"/>
                  <a:pt x="199" y="452"/>
                </a:cubicBezTo>
                <a:cubicBezTo>
                  <a:pt x="199" y="445"/>
                  <a:pt x="205" y="439"/>
                  <a:pt x="213" y="439"/>
                </a:cubicBezTo>
                <a:close/>
                <a:moveTo>
                  <a:pt x="213" y="386"/>
                </a:moveTo>
                <a:cubicBezTo>
                  <a:pt x="319" y="386"/>
                  <a:pt x="319" y="386"/>
                  <a:pt x="319" y="386"/>
                </a:cubicBezTo>
                <a:cubicBezTo>
                  <a:pt x="326" y="386"/>
                  <a:pt x="332" y="392"/>
                  <a:pt x="332" y="399"/>
                </a:cubicBezTo>
                <a:cubicBezTo>
                  <a:pt x="332" y="406"/>
                  <a:pt x="326" y="412"/>
                  <a:pt x="319" y="412"/>
                </a:cubicBezTo>
                <a:cubicBezTo>
                  <a:pt x="213" y="412"/>
                  <a:pt x="213" y="412"/>
                  <a:pt x="213" y="412"/>
                </a:cubicBezTo>
                <a:cubicBezTo>
                  <a:pt x="205" y="412"/>
                  <a:pt x="199" y="406"/>
                  <a:pt x="199" y="399"/>
                </a:cubicBezTo>
                <a:cubicBezTo>
                  <a:pt x="199" y="392"/>
                  <a:pt x="205" y="386"/>
                  <a:pt x="213" y="386"/>
                </a:cubicBezTo>
                <a:close/>
                <a:moveTo>
                  <a:pt x="213" y="332"/>
                </a:moveTo>
                <a:cubicBezTo>
                  <a:pt x="319" y="332"/>
                  <a:pt x="319" y="332"/>
                  <a:pt x="319" y="332"/>
                </a:cubicBezTo>
                <a:cubicBezTo>
                  <a:pt x="326" y="332"/>
                  <a:pt x="332" y="338"/>
                  <a:pt x="332" y="346"/>
                </a:cubicBezTo>
                <a:cubicBezTo>
                  <a:pt x="332" y="353"/>
                  <a:pt x="326" y="359"/>
                  <a:pt x="319" y="359"/>
                </a:cubicBezTo>
                <a:cubicBezTo>
                  <a:pt x="213" y="359"/>
                  <a:pt x="213" y="359"/>
                  <a:pt x="213" y="359"/>
                </a:cubicBezTo>
                <a:cubicBezTo>
                  <a:pt x="205" y="359"/>
                  <a:pt x="199" y="353"/>
                  <a:pt x="199" y="346"/>
                </a:cubicBezTo>
                <a:cubicBezTo>
                  <a:pt x="199" y="338"/>
                  <a:pt x="205" y="332"/>
                  <a:pt x="213" y="332"/>
                </a:cubicBezTo>
                <a:close/>
                <a:moveTo>
                  <a:pt x="213" y="279"/>
                </a:moveTo>
                <a:cubicBezTo>
                  <a:pt x="319" y="279"/>
                  <a:pt x="319" y="279"/>
                  <a:pt x="319" y="279"/>
                </a:cubicBezTo>
                <a:cubicBezTo>
                  <a:pt x="326" y="279"/>
                  <a:pt x="332" y="285"/>
                  <a:pt x="332" y="293"/>
                </a:cubicBezTo>
                <a:cubicBezTo>
                  <a:pt x="332" y="300"/>
                  <a:pt x="326" y="306"/>
                  <a:pt x="319" y="306"/>
                </a:cubicBezTo>
                <a:cubicBezTo>
                  <a:pt x="213" y="306"/>
                  <a:pt x="213" y="306"/>
                  <a:pt x="213" y="306"/>
                </a:cubicBezTo>
                <a:cubicBezTo>
                  <a:pt x="205" y="306"/>
                  <a:pt x="199" y="300"/>
                  <a:pt x="199" y="293"/>
                </a:cubicBezTo>
                <a:cubicBezTo>
                  <a:pt x="199" y="285"/>
                  <a:pt x="205" y="279"/>
                  <a:pt x="213" y="279"/>
                </a:cubicBezTo>
                <a:close/>
                <a:moveTo>
                  <a:pt x="186" y="492"/>
                </a:moveTo>
                <a:cubicBezTo>
                  <a:pt x="346" y="492"/>
                  <a:pt x="346" y="492"/>
                  <a:pt x="346" y="492"/>
                </a:cubicBezTo>
                <a:cubicBezTo>
                  <a:pt x="346" y="253"/>
                  <a:pt x="346" y="253"/>
                  <a:pt x="346" y="253"/>
                </a:cubicBezTo>
                <a:cubicBezTo>
                  <a:pt x="186" y="253"/>
                  <a:pt x="186" y="253"/>
                  <a:pt x="186" y="253"/>
                </a:cubicBezTo>
                <a:cubicBezTo>
                  <a:pt x="186" y="492"/>
                  <a:pt x="186" y="492"/>
                  <a:pt x="186" y="4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70322" tIns="35161" rIns="70322" bIns="351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46"/>
          </a:p>
        </p:txBody>
      </p:sp>
      <p:sp>
        <p:nvSpPr>
          <p:cNvPr id="39" name="Freeform 38"/>
          <p:cNvSpPr>
            <a:spLocks noEditPoints="1"/>
          </p:cNvSpPr>
          <p:nvPr/>
        </p:nvSpPr>
        <p:spPr bwMode="auto">
          <a:xfrm>
            <a:off x="5606660" y="3052095"/>
            <a:ext cx="972366" cy="972366"/>
          </a:xfrm>
          <a:custGeom>
            <a:avLst/>
            <a:gdLst>
              <a:gd name="T0" fmla="*/ 466 w 639"/>
              <a:gd name="T1" fmla="*/ 372 h 639"/>
              <a:gd name="T2" fmla="*/ 173 w 639"/>
              <a:gd name="T3" fmla="*/ 372 h 639"/>
              <a:gd name="T4" fmla="*/ 173 w 639"/>
              <a:gd name="T5" fmla="*/ 213 h 639"/>
              <a:gd name="T6" fmla="*/ 466 w 639"/>
              <a:gd name="T7" fmla="*/ 213 h 639"/>
              <a:gd name="T8" fmla="*/ 466 w 639"/>
              <a:gd name="T9" fmla="*/ 372 h 639"/>
              <a:gd name="T10" fmla="*/ 506 w 639"/>
              <a:gd name="T11" fmla="*/ 452 h 639"/>
              <a:gd name="T12" fmla="*/ 133 w 639"/>
              <a:gd name="T13" fmla="*/ 452 h 639"/>
              <a:gd name="T14" fmla="*/ 120 w 639"/>
              <a:gd name="T15" fmla="*/ 439 h 639"/>
              <a:gd name="T16" fmla="*/ 133 w 639"/>
              <a:gd name="T17" fmla="*/ 426 h 639"/>
              <a:gd name="T18" fmla="*/ 506 w 639"/>
              <a:gd name="T19" fmla="*/ 426 h 639"/>
              <a:gd name="T20" fmla="*/ 519 w 639"/>
              <a:gd name="T21" fmla="*/ 439 h 639"/>
              <a:gd name="T22" fmla="*/ 506 w 639"/>
              <a:gd name="T23" fmla="*/ 452 h 639"/>
              <a:gd name="T24" fmla="*/ 146 w 639"/>
              <a:gd name="T25" fmla="*/ 199 h 639"/>
              <a:gd name="T26" fmla="*/ 160 w 639"/>
              <a:gd name="T27" fmla="*/ 186 h 639"/>
              <a:gd name="T28" fmla="*/ 479 w 639"/>
              <a:gd name="T29" fmla="*/ 186 h 639"/>
              <a:gd name="T30" fmla="*/ 492 w 639"/>
              <a:gd name="T31" fmla="*/ 199 h 639"/>
              <a:gd name="T32" fmla="*/ 492 w 639"/>
              <a:gd name="T33" fmla="*/ 386 h 639"/>
              <a:gd name="T34" fmla="*/ 479 w 639"/>
              <a:gd name="T35" fmla="*/ 399 h 639"/>
              <a:gd name="T36" fmla="*/ 160 w 639"/>
              <a:gd name="T37" fmla="*/ 399 h 639"/>
              <a:gd name="T38" fmla="*/ 146 w 639"/>
              <a:gd name="T39" fmla="*/ 386 h 639"/>
              <a:gd name="T40" fmla="*/ 146 w 639"/>
              <a:gd name="T41" fmla="*/ 199 h 639"/>
              <a:gd name="T42" fmla="*/ 319 w 639"/>
              <a:gd name="T43" fmla="*/ 0 h 639"/>
              <a:gd name="T44" fmla="*/ 0 w 639"/>
              <a:gd name="T45" fmla="*/ 319 h 639"/>
              <a:gd name="T46" fmla="*/ 319 w 639"/>
              <a:gd name="T47" fmla="*/ 639 h 639"/>
              <a:gd name="T48" fmla="*/ 639 w 639"/>
              <a:gd name="T49" fmla="*/ 319 h 639"/>
              <a:gd name="T50" fmla="*/ 319 w 639"/>
              <a:gd name="T51" fmla="*/ 0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39" h="639">
                <a:moveTo>
                  <a:pt x="466" y="372"/>
                </a:moveTo>
                <a:cubicBezTo>
                  <a:pt x="173" y="372"/>
                  <a:pt x="173" y="372"/>
                  <a:pt x="173" y="372"/>
                </a:cubicBezTo>
                <a:cubicBezTo>
                  <a:pt x="173" y="213"/>
                  <a:pt x="173" y="213"/>
                  <a:pt x="173" y="213"/>
                </a:cubicBezTo>
                <a:cubicBezTo>
                  <a:pt x="466" y="213"/>
                  <a:pt x="466" y="213"/>
                  <a:pt x="466" y="213"/>
                </a:cubicBezTo>
                <a:cubicBezTo>
                  <a:pt x="466" y="372"/>
                  <a:pt x="466" y="372"/>
                  <a:pt x="466" y="372"/>
                </a:cubicBezTo>
                <a:close/>
                <a:moveTo>
                  <a:pt x="506" y="452"/>
                </a:moveTo>
                <a:cubicBezTo>
                  <a:pt x="133" y="452"/>
                  <a:pt x="133" y="452"/>
                  <a:pt x="133" y="452"/>
                </a:cubicBezTo>
                <a:cubicBezTo>
                  <a:pt x="126" y="452"/>
                  <a:pt x="120" y="446"/>
                  <a:pt x="120" y="439"/>
                </a:cubicBezTo>
                <a:cubicBezTo>
                  <a:pt x="120" y="432"/>
                  <a:pt x="126" y="426"/>
                  <a:pt x="133" y="426"/>
                </a:cubicBezTo>
                <a:cubicBezTo>
                  <a:pt x="506" y="426"/>
                  <a:pt x="506" y="426"/>
                  <a:pt x="506" y="426"/>
                </a:cubicBezTo>
                <a:cubicBezTo>
                  <a:pt x="513" y="426"/>
                  <a:pt x="519" y="432"/>
                  <a:pt x="519" y="439"/>
                </a:cubicBezTo>
                <a:cubicBezTo>
                  <a:pt x="519" y="446"/>
                  <a:pt x="513" y="452"/>
                  <a:pt x="506" y="452"/>
                </a:cubicBezTo>
                <a:close/>
                <a:moveTo>
                  <a:pt x="146" y="199"/>
                </a:moveTo>
                <a:cubicBezTo>
                  <a:pt x="146" y="192"/>
                  <a:pt x="152" y="186"/>
                  <a:pt x="160" y="186"/>
                </a:cubicBezTo>
                <a:cubicBezTo>
                  <a:pt x="479" y="186"/>
                  <a:pt x="479" y="186"/>
                  <a:pt x="479" y="186"/>
                </a:cubicBezTo>
                <a:cubicBezTo>
                  <a:pt x="486" y="186"/>
                  <a:pt x="492" y="192"/>
                  <a:pt x="492" y="199"/>
                </a:cubicBezTo>
                <a:cubicBezTo>
                  <a:pt x="492" y="386"/>
                  <a:pt x="492" y="386"/>
                  <a:pt x="492" y="386"/>
                </a:cubicBezTo>
                <a:cubicBezTo>
                  <a:pt x="492" y="393"/>
                  <a:pt x="486" y="399"/>
                  <a:pt x="479" y="399"/>
                </a:cubicBezTo>
                <a:cubicBezTo>
                  <a:pt x="160" y="399"/>
                  <a:pt x="160" y="399"/>
                  <a:pt x="160" y="399"/>
                </a:cubicBezTo>
                <a:cubicBezTo>
                  <a:pt x="152" y="399"/>
                  <a:pt x="146" y="393"/>
                  <a:pt x="146" y="386"/>
                </a:cubicBezTo>
                <a:cubicBezTo>
                  <a:pt x="146" y="199"/>
                  <a:pt x="146" y="199"/>
                  <a:pt x="146" y="199"/>
                </a:cubicBezTo>
                <a:close/>
                <a:moveTo>
                  <a:pt x="319" y="0"/>
                </a:moveTo>
                <a:cubicBezTo>
                  <a:pt x="143" y="0"/>
                  <a:pt x="0" y="143"/>
                  <a:pt x="0" y="319"/>
                </a:cubicBezTo>
                <a:cubicBezTo>
                  <a:pt x="0" y="496"/>
                  <a:pt x="143" y="639"/>
                  <a:pt x="319" y="639"/>
                </a:cubicBezTo>
                <a:cubicBezTo>
                  <a:pt x="496" y="639"/>
                  <a:pt x="639" y="496"/>
                  <a:pt x="639" y="319"/>
                </a:cubicBezTo>
                <a:cubicBezTo>
                  <a:pt x="639" y="143"/>
                  <a:pt x="496" y="0"/>
                  <a:pt x="31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105"/>
          </a:p>
        </p:txBody>
      </p:sp>
      <p:sp>
        <p:nvSpPr>
          <p:cNvPr id="40" name="Freeform 36"/>
          <p:cNvSpPr>
            <a:spLocks noChangeAspect="1" noEditPoints="1"/>
          </p:cNvSpPr>
          <p:nvPr/>
        </p:nvSpPr>
        <p:spPr bwMode="auto">
          <a:xfrm>
            <a:off x="3941061" y="3044300"/>
            <a:ext cx="972000" cy="972000"/>
          </a:xfrm>
          <a:custGeom>
            <a:avLst/>
            <a:gdLst>
              <a:gd name="T0" fmla="*/ 324 w 512"/>
              <a:gd name="T1" fmla="*/ 194 h 512"/>
              <a:gd name="T2" fmla="*/ 330 w 512"/>
              <a:gd name="T3" fmla="*/ 167 h 512"/>
              <a:gd name="T4" fmla="*/ 400 w 512"/>
              <a:gd name="T5" fmla="*/ 182 h 512"/>
              <a:gd name="T6" fmla="*/ 386 w 512"/>
              <a:gd name="T7" fmla="*/ 223 h 512"/>
              <a:gd name="T8" fmla="*/ 351 w 512"/>
              <a:gd name="T9" fmla="*/ 247 h 512"/>
              <a:gd name="T10" fmla="*/ 312 w 512"/>
              <a:gd name="T11" fmla="*/ 243 h 512"/>
              <a:gd name="T12" fmla="*/ 278 w 512"/>
              <a:gd name="T13" fmla="*/ 222 h 512"/>
              <a:gd name="T14" fmla="*/ 264 w 512"/>
              <a:gd name="T15" fmla="*/ 183 h 512"/>
              <a:gd name="T16" fmla="*/ 275 w 512"/>
              <a:gd name="T17" fmla="*/ 144 h 512"/>
              <a:gd name="T18" fmla="*/ 308 w 512"/>
              <a:gd name="T19" fmla="*/ 119 h 512"/>
              <a:gd name="T20" fmla="*/ 331 w 512"/>
              <a:gd name="T21" fmla="*/ 128 h 512"/>
              <a:gd name="T22" fmla="*/ 364 w 512"/>
              <a:gd name="T23" fmla="*/ 136 h 512"/>
              <a:gd name="T24" fmla="*/ 384 w 512"/>
              <a:gd name="T25" fmla="*/ 164 h 512"/>
              <a:gd name="T26" fmla="*/ 320 w 512"/>
              <a:gd name="T27" fmla="*/ 147 h 512"/>
              <a:gd name="T28" fmla="*/ 330 w 512"/>
              <a:gd name="T29" fmla="*/ 217 h 512"/>
              <a:gd name="T30" fmla="*/ 512 w 512"/>
              <a:gd name="T31" fmla="*/ 256 h 512"/>
              <a:gd name="T32" fmla="*/ 512 w 512"/>
              <a:gd name="T33" fmla="*/ 256 h 512"/>
              <a:gd name="T34" fmla="*/ 268 w 512"/>
              <a:gd name="T35" fmla="*/ 290 h 512"/>
              <a:gd name="T36" fmla="*/ 236 w 512"/>
              <a:gd name="T37" fmla="*/ 251 h 512"/>
              <a:gd name="T38" fmla="*/ 187 w 512"/>
              <a:gd name="T39" fmla="*/ 238 h 512"/>
              <a:gd name="T40" fmla="*/ 140 w 512"/>
              <a:gd name="T41" fmla="*/ 256 h 512"/>
              <a:gd name="T42" fmla="*/ 113 w 512"/>
              <a:gd name="T43" fmla="*/ 299 h 512"/>
              <a:gd name="T44" fmla="*/ 115 w 512"/>
              <a:gd name="T45" fmla="*/ 350 h 512"/>
              <a:gd name="T46" fmla="*/ 147 w 512"/>
              <a:gd name="T47" fmla="*/ 388 h 512"/>
              <a:gd name="T48" fmla="*/ 196 w 512"/>
              <a:gd name="T49" fmla="*/ 401 h 512"/>
              <a:gd name="T50" fmla="*/ 237 w 512"/>
              <a:gd name="T51" fmla="*/ 383 h 512"/>
              <a:gd name="T52" fmla="*/ 266 w 512"/>
              <a:gd name="T53" fmla="*/ 345 h 512"/>
              <a:gd name="T54" fmla="*/ 410 w 512"/>
              <a:gd name="T55" fmla="*/ 163 h 512"/>
              <a:gd name="T56" fmla="*/ 384 w 512"/>
              <a:gd name="T57" fmla="*/ 119 h 512"/>
              <a:gd name="T58" fmla="*/ 337 w 512"/>
              <a:gd name="T59" fmla="*/ 99 h 512"/>
              <a:gd name="T60" fmla="*/ 288 w 512"/>
              <a:gd name="T61" fmla="*/ 111 h 512"/>
              <a:gd name="T62" fmla="*/ 255 w 512"/>
              <a:gd name="T63" fmla="*/ 149 h 512"/>
              <a:gd name="T64" fmla="*/ 251 w 512"/>
              <a:gd name="T65" fmla="*/ 199 h 512"/>
              <a:gd name="T66" fmla="*/ 277 w 512"/>
              <a:gd name="T67" fmla="*/ 243 h 512"/>
              <a:gd name="T68" fmla="*/ 323 w 512"/>
              <a:gd name="T69" fmla="*/ 263 h 512"/>
              <a:gd name="T70" fmla="*/ 358 w 512"/>
              <a:gd name="T71" fmla="*/ 270 h 512"/>
              <a:gd name="T72" fmla="*/ 405 w 512"/>
              <a:gd name="T73" fmla="*/ 237 h 512"/>
              <a:gd name="T74" fmla="*/ 423 w 512"/>
              <a:gd name="T75" fmla="*/ 182 h 512"/>
              <a:gd name="T76" fmla="*/ 179 w 512"/>
              <a:gd name="T77" fmla="*/ 313 h 512"/>
              <a:gd name="T78" fmla="*/ 204 w 512"/>
              <a:gd name="T79" fmla="*/ 326 h 512"/>
              <a:gd name="T80" fmla="*/ 262 w 512"/>
              <a:gd name="T81" fmla="*/ 321 h 512"/>
              <a:gd name="T82" fmla="*/ 248 w 512"/>
              <a:gd name="T83" fmla="*/ 361 h 512"/>
              <a:gd name="T84" fmla="*/ 212 w 512"/>
              <a:gd name="T85" fmla="*/ 386 h 512"/>
              <a:gd name="T86" fmla="*/ 173 w 512"/>
              <a:gd name="T87" fmla="*/ 382 h 512"/>
              <a:gd name="T88" fmla="*/ 139 w 512"/>
              <a:gd name="T89" fmla="*/ 360 h 512"/>
              <a:gd name="T90" fmla="*/ 125 w 512"/>
              <a:gd name="T91" fmla="*/ 321 h 512"/>
              <a:gd name="T92" fmla="*/ 137 w 512"/>
              <a:gd name="T93" fmla="*/ 282 h 512"/>
              <a:gd name="T94" fmla="*/ 169 w 512"/>
              <a:gd name="T95" fmla="*/ 258 h 512"/>
              <a:gd name="T96" fmla="*/ 193 w 512"/>
              <a:gd name="T97" fmla="*/ 266 h 512"/>
              <a:gd name="T98" fmla="*/ 226 w 512"/>
              <a:gd name="T99" fmla="*/ 274 h 512"/>
              <a:gd name="T100" fmla="*/ 246 w 512"/>
              <a:gd name="T101" fmla="*/ 303 h 512"/>
              <a:gd name="T102" fmla="*/ 181 w 512"/>
              <a:gd name="T103" fmla="*/ 286 h 512"/>
              <a:gd name="T104" fmla="*/ 192 w 512"/>
              <a:gd name="T105" fmla="*/ 3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344" y="177"/>
                </a:moveTo>
                <a:cubicBezTo>
                  <a:pt x="345" y="180"/>
                  <a:pt x="345" y="184"/>
                  <a:pt x="343" y="188"/>
                </a:cubicBezTo>
                <a:cubicBezTo>
                  <a:pt x="341" y="191"/>
                  <a:pt x="338" y="193"/>
                  <a:pt x="335" y="195"/>
                </a:cubicBezTo>
                <a:cubicBezTo>
                  <a:pt x="331" y="196"/>
                  <a:pt x="327" y="195"/>
                  <a:pt x="324" y="194"/>
                </a:cubicBezTo>
                <a:cubicBezTo>
                  <a:pt x="320" y="192"/>
                  <a:pt x="318" y="189"/>
                  <a:pt x="317" y="185"/>
                </a:cubicBezTo>
                <a:cubicBezTo>
                  <a:pt x="316" y="182"/>
                  <a:pt x="316" y="178"/>
                  <a:pt x="318" y="174"/>
                </a:cubicBezTo>
                <a:cubicBezTo>
                  <a:pt x="320" y="171"/>
                  <a:pt x="322" y="169"/>
                  <a:pt x="326" y="167"/>
                </a:cubicBezTo>
                <a:cubicBezTo>
                  <a:pt x="328" y="167"/>
                  <a:pt x="329" y="167"/>
                  <a:pt x="330" y="167"/>
                </a:cubicBezTo>
                <a:cubicBezTo>
                  <a:pt x="333" y="167"/>
                  <a:pt x="335" y="167"/>
                  <a:pt x="337" y="168"/>
                </a:cubicBezTo>
                <a:cubicBezTo>
                  <a:pt x="340" y="170"/>
                  <a:pt x="343" y="173"/>
                  <a:pt x="344" y="177"/>
                </a:cubicBezTo>
                <a:close/>
                <a:moveTo>
                  <a:pt x="397" y="179"/>
                </a:moveTo>
                <a:cubicBezTo>
                  <a:pt x="398" y="180"/>
                  <a:pt x="399" y="181"/>
                  <a:pt x="400" y="182"/>
                </a:cubicBezTo>
                <a:cubicBezTo>
                  <a:pt x="399" y="183"/>
                  <a:pt x="398" y="184"/>
                  <a:pt x="397" y="185"/>
                </a:cubicBezTo>
                <a:cubicBezTo>
                  <a:pt x="392" y="189"/>
                  <a:pt x="386" y="193"/>
                  <a:pt x="384" y="199"/>
                </a:cubicBezTo>
                <a:cubicBezTo>
                  <a:pt x="382" y="206"/>
                  <a:pt x="384" y="212"/>
                  <a:pt x="385" y="218"/>
                </a:cubicBezTo>
                <a:cubicBezTo>
                  <a:pt x="386" y="220"/>
                  <a:pt x="386" y="221"/>
                  <a:pt x="386" y="223"/>
                </a:cubicBezTo>
                <a:cubicBezTo>
                  <a:pt x="385" y="223"/>
                  <a:pt x="383" y="223"/>
                  <a:pt x="382" y="223"/>
                </a:cubicBezTo>
                <a:cubicBezTo>
                  <a:pt x="376" y="223"/>
                  <a:pt x="369" y="223"/>
                  <a:pt x="363" y="227"/>
                </a:cubicBezTo>
                <a:cubicBezTo>
                  <a:pt x="357" y="231"/>
                  <a:pt x="355" y="237"/>
                  <a:pt x="353" y="243"/>
                </a:cubicBezTo>
                <a:cubicBezTo>
                  <a:pt x="352" y="244"/>
                  <a:pt x="352" y="246"/>
                  <a:pt x="351" y="247"/>
                </a:cubicBezTo>
                <a:cubicBezTo>
                  <a:pt x="350" y="246"/>
                  <a:pt x="348" y="244"/>
                  <a:pt x="347" y="244"/>
                </a:cubicBezTo>
                <a:cubicBezTo>
                  <a:pt x="342" y="240"/>
                  <a:pt x="336" y="234"/>
                  <a:pt x="330" y="234"/>
                </a:cubicBezTo>
                <a:cubicBezTo>
                  <a:pt x="329" y="234"/>
                  <a:pt x="329" y="234"/>
                  <a:pt x="329" y="234"/>
                </a:cubicBezTo>
                <a:cubicBezTo>
                  <a:pt x="322" y="234"/>
                  <a:pt x="317" y="240"/>
                  <a:pt x="312" y="243"/>
                </a:cubicBezTo>
                <a:cubicBezTo>
                  <a:pt x="311" y="244"/>
                  <a:pt x="309" y="246"/>
                  <a:pt x="308" y="247"/>
                </a:cubicBezTo>
                <a:cubicBezTo>
                  <a:pt x="307" y="246"/>
                  <a:pt x="307" y="244"/>
                  <a:pt x="306" y="243"/>
                </a:cubicBezTo>
                <a:cubicBezTo>
                  <a:pt x="304" y="237"/>
                  <a:pt x="302" y="230"/>
                  <a:pt x="296" y="226"/>
                </a:cubicBezTo>
                <a:cubicBezTo>
                  <a:pt x="291" y="222"/>
                  <a:pt x="284" y="222"/>
                  <a:pt x="278" y="222"/>
                </a:cubicBezTo>
                <a:cubicBezTo>
                  <a:pt x="277" y="222"/>
                  <a:pt x="275" y="222"/>
                  <a:pt x="273" y="221"/>
                </a:cubicBezTo>
                <a:cubicBezTo>
                  <a:pt x="274" y="220"/>
                  <a:pt x="274" y="218"/>
                  <a:pt x="274" y="217"/>
                </a:cubicBezTo>
                <a:cubicBezTo>
                  <a:pt x="276" y="211"/>
                  <a:pt x="278" y="204"/>
                  <a:pt x="276" y="198"/>
                </a:cubicBezTo>
                <a:cubicBezTo>
                  <a:pt x="274" y="191"/>
                  <a:pt x="269" y="187"/>
                  <a:pt x="264" y="183"/>
                </a:cubicBezTo>
                <a:cubicBezTo>
                  <a:pt x="263" y="182"/>
                  <a:pt x="261" y="181"/>
                  <a:pt x="260" y="180"/>
                </a:cubicBezTo>
                <a:cubicBezTo>
                  <a:pt x="262" y="179"/>
                  <a:pt x="263" y="178"/>
                  <a:pt x="264" y="177"/>
                </a:cubicBezTo>
                <a:cubicBezTo>
                  <a:pt x="269" y="173"/>
                  <a:pt x="275" y="169"/>
                  <a:pt x="277" y="163"/>
                </a:cubicBezTo>
                <a:cubicBezTo>
                  <a:pt x="279" y="156"/>
                  <a:pt x="277" y="150"/>
                  <a:pt x="275" y="144"/>
                </a:cubicBezTo>
                <a:cubicBezTo>
                  <a:pt x="275" y="142"/>
                  <a:pt x="275" y="141"/>
                  <a:pt x="274" y="139"/>
                </a:cubicBezTo>
                <a:cubicBezTo>
                  <a:pt x="276" y="139"/>
                  <a:pt x="278" y="139"/>
                  <a:pt x="279" y="139"/>
                </a:cubicBezTo>
                <a:cubicBezTo>
                  <a:pt x="285" y="139"/>
                  <a:pt x="292" y="139"/>
                  <a:pt x="298" y="135"/>
                </a:cubicBezTo>
                <a:cubicBezTo>
                  <a:pt x="303" y="131"/>
                  <a:pt x="306" y="125"/>
                  <a:pt x="308" y="119"/>
                </a:cubicBezTo>
                <a:cubicBezTo>
                  <a:pt x="308" y="118"/>
                  <a:pt x="309" y="116"/>
                  <a:pt x="310" y="115"/>
                </a:cubicBezTo>
                <a:cubicBezTo>
                  <a:pt x="311" y="116"/>
                  <a:pt x="313" y="118"/>
                  <a:pt x="314" y="118"/>
                </a:cubicBezTo>
                <a:cubicBezTo>
                  <a:pt x="319" y="122"/>
                  <a:pt x="324" y="128"/>
                  <a:pt x="331" y="128"/>
                </a:cubicBezTo>
                <a:cubicBezTo>
                  <a:pt x="331" y="128"/>
                  <a:pt x="331" y="128"/>
                  <a:pt x="331" y="128"/>
                </a:cubicBezTo>
                <a:cubicBezTo>
                  <a:pt x="338" y="128"/>
                  <a:pt x="344" y="122"/>
                  <a:pt x="349" y="119"/>
                </a:cubicBezTo>
                <a:cubicBezTo>
                  <a:pt x="350" y="118"/>
                  <a:pt x="352" y="116"/>
                  <a:pt x="353" y="115"/>
                </a:cubicBezTo>
                <a:cubicBezTo>
                  <a:pt x="353" y="116"/>
                  <a:pt x="354" y="118"/>
                  <a:pt x="354" y="119"/>
                </a:cubicBezTo>
                <a:cubicBezTo>
                  <a:pt x="356" y="125"/>
                  <a:pt x="359" y="132"/>
                  <a:pt x="364" y="136"/>
                </a:cubicBezTo>
                <a:cubicBezTo>
                  <a:pt x="370" y="140"/>
                  <a:pt x="377" y="140"/>
                  <a:pt x="383" y="140"/>
                </a:cubicBezTo>
                <a:cubicBezTo>
                  <a:pt x="384" y="140"/>
                  <a:pt x="386" y="140"/>
                  <a:pt x="387" y="141"/>
                </a:cubicBezTo>
                <a:cubicBezTo>
                  <a:pt x="387" y="142"/>
                  <a:pt x="387" y="144"/>
                  <a:pt x="386" y="145"/>
                </a:cubicBezTo>
                <a:cubicBezTo>
                  <a:pt x="384" y="151"/>
                  <a:pt x="382" y="158"/>
                  <a:pt x="384" y="164"/>
                </a:cubicBezTo>
                <a:cubicBezTo>
                  <a:pt x="386" y="171"/>
                  <a:pt x="392" y="175"/>
                  <a:pt x="397" y="179"/>
                </a:cubicBezTo>
                <a:close/>
                <a:moveTo>
                  <a:pt x="364" y="170"/>
                </a:moveTo>
                <a:cubicBezTo>
                  <a:pt x="361" y="161"/>
                  <a:pt x="355" y="154"/>
                  <a:pt x="347" y="150"/>
                </a:cubicBezTo>
                <a:cubicBezTo>
                  <a:pt x="338" y="145"/>
                  <a:pt x="329" y="144"/>
                  <a:pt x="320" y="147"/>
                </a:cubicBezTo>
                <a:cubicBezTo>
                  <a:pt x="311" y="150"/>
                  <a:pt x="303" y="156"/>
                  <a:pt x="299" y="164"/>
                </a:cubicBezTo>
                <a:cubicBezTo>
                  <a:pt x="294" y="173"/>
                  <a:pt x="294" y="182"/>
                  <a:pt x="296" y="192"/>
                </a:cubicBezTo>
                <a:cubicBezTo>
                  <a:pt x="299" y="201"/>
                  <a:pt x="305" y="208"/>
                  <a:pt x="314" y="212"/>
                </a:cubicBezTo>
                <a:cubicBezTo>
                  <a:pt x="319" y="215"/>
                  <a:pt x="325" y="217"/>
                  <a:pt x="330" y="217"/>
                </a:cubicBezTo>
                <a:cubicBezTo>
                  <a:pt x="334" y="217"/>
                  <a:pt x="337" y="216"/>
                  <a:pt x="341" y="215"/>
                </a:cubicBezTo>
                <a:cubicBezTo>
                  <a:pt x="350" y="212"/>
                  <a:pt x="357" y="206"/>
                  <a:pt x="362" y="198"/>
                </a:cubicBezTo>
                <a:cubicBezTo>
                  <a:pt x="366" y="189"/>
                  <a:pt x="367" y="180"/>
                  <a:pt x="364" y="17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4" y="321"/>
                </a:moveTo>
                <a:cubicBezTo>
                  <a:pt x="285" y="312"/>
                  <a:pt x="277" y="306"/>
                  <a:pt x="271" y="301"/>
                </a:cubicBezTo>
                <a:cubicBezTo>
                  <a:pt x="270" y="300"/>
                  <a:pt x="267" y="298"/>
                  <a:pt x="266" y="297"/>
                </a:cubicBezTo>
                <a:cubicBezTo>
                  <a:pt x="266" y="295"/>
                  <a:pt x="267" y="292"/>
                  <a:pt x="268" y="290"/>
                </a:cubicBezTo>
                <a:cubicBezTo>
                  <a:pt x="270" y="283"/>
                  <a:pt x="273" y="274"/>
                  <a:pt x="267" y="266"/>
                </a:cubicBezTo>
                <a:cubicBezTo>
                  <a:pt x="262" y="258"/>
                  <a:pt x="252" y="258"/>
                  <a:pt x="245" y="258"/>
                </a:cubicBezTo>
                <a:cubicBezTo>
                  <a:pt x="243" y="258"/>
                  <a:pt x="240" y="257"/>
                  <a:pt x="238" y="257"/>
                </a:cubicBezTo>
                <a:cubicBezTo>
                  <a:pt x="238" y="256"/>
                  <a:pt x="237" y="253"/>
                  <a:pt x="236" y="251"/>
                </a:cubicBezTo>
                <a:cubicBezTo>
                  <a:pt x="234" y="244"/>
                  <a:pt x="231" y="235"/>
                  <a:pt x="222" y="232"/>
                </a:cubicBezTo>
                <a:cubicBezTo>
                  <a:pt x="213" y="229"/>
                  <a:pt x="204" y="234"/>
                  <a:pt x="199" y="238"/>
                </a:cubicBezTo>
                <a:cubicBezTo>
                  <a:pt x="197" y="239"/>
                  <a:pt x="194" y="241"/>
                  <a:pt x="193" y="242"/>
                </a:cubicBezTo>
                <a:cubicBezTo>
                  <a:pt x="191" y="241"/>
                  <a:pt x="189" y="239"/>
                  <a:pt x="187" y="238"/>
                </a:cubicBezTo>
                <a:cubicBezTo>
                  <a:pt x="182" y="234"/>
                  <a:pt x="173" y="228"/>
                  <a:pt x="164" y="231"/>
                </a:cubicBezTo>
                <a:cubicBezTo>
                  <a:pt x="155" y="234"/>
                  <a:pt x="152" y="243"/>
                  <a:pt x="149" y="250"/>
                </a:cubicBezTo>
                <a:cubicBezTo>
                  <a:pt x="148" y="252"/>
                  <a:pt x="147" y="255"/>
                  <a:pt x="147" y="256"/>
                </a:cubicBezTo>
                <a:cubicBezTo>
                  <a:pt x="145" y="256"/>
                  <a:pt x="142" y="256"/>
                  <a:pt x="140" y="256"/>
                </a:cubicBezTo>
                <a:cubicBezTo>
                  <a:pt x="133" y="256"/>
                  <a:pt x="123" y="257"/>
                  <a:pt x="117" y="264"/>
                </a:cubicBezTo>
                <a:cubicBezTo>
                  <a:pt x="112" y="272"/>
                  <a:pt x="114" y="281"/>
                  <a:pt x="116" y="288"/>
                </a:cubicBezTo>
                <a:cubicBezTo>
                  <a:pt x="117" y="290"/>
                  <a:pt x="118" y="293"/>
                  <a:pt x="118" y="295"/>
                </a:cubicBezTo>
                <a:cubicBezTo>
                  <a:pt x="117" y="296"/>
                  <a:pt x="114" y="298"/>
                  <a:pt x="113" y="299"/>
                </a:cubicBezTo>
                <a:cubicBezTo>
                  <a:pt x="107" y="303"/>
                  <a:pt x="99" y="309"/>
                  <a:pt x="99" y="318"/>
                </a:cubicBezTo>
                <a:cubicBezTo>
                  <a:pt x="99" y="328"/>
                  <a:pt x="106" y="334"/>
                  <a:pt x="112" y="338"/>
                </a:cubicBezTo>
                <a:cubicBezTo>
                  <a:pt x="114" y="340"/>
                  <a:pt x="117" y="342"/>
                  <a:pt x="117" y="342"/>
                </a:cubicBezTo>
                <a:cubicBezTo>
                  <a:pt x="117" y="344"/>
                  <a:pt x="116" y="347"/>
                  <a:pt x="115" y="350"/>
                </a:cubicBezTo>
                <a:cubicBezTo>
                  <a:pt x="113" y="357"/>
                  <a:pt x="110" y="366"/>
                  <a:pt x="116" y="373"/>
                </a:cubicBezTo>
                <a:cubicBezTo>
                  <a:pt x="121" y="381"/>
                  <a:pt x="131" y="381"/>
                  <a:pt x="138" y="382"/>
                </a:cubicBezTo>
                <a:cubicBezTo>
                  <a:pt x="140" y="382"/>
                  <a:pt x="143" y="382"/>
                  <a:pt x="145" y="382"/>
                </a:cubicBezTo>
                <a:cubicBezTo>
                  <a:pt x="146" y="384"/>
                  <a:pt x="147" y="387"/>
                  <a:pt x="147" y="388"/>
                </a:cubicBezTo>
                <a:cubicBezTo>
                  <a:pt x="150" y="395"/>
                  <a:pt x="153" y="404"/>
                  <a:pt x="162" y="408"/>
                </a:cubicBezTo>
                <a:cubicBezTo>
                  <a:pt x="171" y="411"/>
                  <a:pt x="179" y="405"/>
                  <a:pt x="185" y="401"/>
                </a:cubicBezTo>
                <a:cubicBezTo>
                  <a:pt x="186" y="400"/>
                  <a:pt x="189" y="398"/>
                  <a:pt x="191" y="398"/>
                </a:cubicBezTo>
                <a:cubicBezTo>
                  <a:pt x="192" y="398"/>
                  <a:pt x="194" y="400"/>
                  <a:pt x="196" y="401"/>
                </a:cubicBezTo>
                <a:cubicBezTo>
                  <a:pt x="201" y="405"/>
                  <a:pt x="207" y="409"/>
                  <a:pt x="214" y="409"/>
                </a:cubicBezTo>
                <a:cubicBezTo>
                  <a:pt x="216" y="409"/>
                  <a:pt x="217" y="409"/>
                  <a:pt x="219" y="408"/>
                </a:cubicBezTo>
                <a:cubicBezTo>
                  <a:pt x="228" y="405"/>
                  <a:pt x="232" y="396"/>
                  <a:pt x="234" y="389"/>
                </a:cubicBezTo>
                <a:cubicBezTo>
                  <a:pt x="235" y="387"/>
                  <a:pt x="236" y="385"/>
                  <a:pt x="237" y="383"/>
                </a:cubicBezTo>
                <a:cubicBezTo>
                  <a:pt x="238" y="383"/>
                  <a:pt x="241" y="383"/>
                  <a:pt x="244" y="383"/>
                </a:cubicBezTo>
                <a:cubicBezTo>
                  <a:pt x="251" y="383"/>
                  <a:pt x="260" y="383"/>
                  <a:pt x="266" y="375"/>
                </a:cubicBezTo>
                <a:cubicBezTo>
                  <a:pt x="272" y="368"/>
                  <a:pt x="269" y="358"/>
                  <a:pt x="267" y="351"/>
                </a:cubicBezTo>
                <a:cubicBezTo>
                  <a:pt x="267" y="349"/>
                  <a:pt x="266" y="346"/>
                  <a:pt x="266" y="345"/>
                </a:cubicBezTo>
                <a:cubicBezTo>
                  <a:pt x="267" y="344"/>
                  <a:pt x="269" y="342"/>
                  <a:pt x="271" y="341"/>
                </a:cubicBezTo>
                <a:cubicBezTo>
                  <a:pt x="276" y="336"/>
                  <a:pt x="284" y="331"/>
                  <a:pt x="284" y="321"/>
                </a:cubicBezTo>
                <a:close/>
                <a:moveTo>
                  <a:pt x="423" y="182"/>
                </a:moveTo>
                <a:cubicBezTo>
                  <a:pt x="423" y="173"/>
                  <a:pt x="416" y="167"/>
                  <a:pt x="410" y="163"/>
                </a:cubicBezTo>
                <a:cubicBezTo>
                  <a:pt x="408" y="161"/>
                  <a:pt x="406" y="159"/>
                  <a:pt x="405" y="158"/>
                </a:cubicBezTo>
                <a:cubicBezTo>
                  <a:pt x="405" y="156"/>
                  <a:pt x="406" y="153"/>
                  <a:pt x="407" y="151"/>
                </a:cubicBezTo>
                <a:cubicBezTo>
                  <a:pt x="409" y="144"/>
                  <a:pt x="412" y="135"/>
                  <a:pt x="406" y="127"/>
                </a:cubicBezTo>
                <a:cubicBezTo>
                  <a:pt x="401" y="120"/>
                  <a:pt x="391" y="119"/>
                  <a:pt x="384" y="119"/>
                </a:cubicBezTo>
                <a:cubicBezTo>
                  <a:pt x="382" y="119"/>
                  <a:pt x="379" y="119"/>
                  <a:pt x="377" y="118"/>
                </a:cubicBezTo>
                <a:cubicBezTo>
                  <a:pt x="376" y="117"/>
                  <a:pt x="375" y="114"/>
                  <a:pt x="375" y="112"/>
                </a:cubicBezTo>
                <a:cubicBezTo>
                  <a:pt x="372" y="105"/>
                  <a:pt x="369" y="96"/>
                  <a:pt x="360" y="93"/>
                </a:cubicBezTo>
                <a:cubicBezTo>
                  <a:pt x="351" y="90"/>
                  <a:pt x="343" y="95"/>
                  <a:pt x="337" y="99"/>
                </a:cubicBezTo>
                <a:cubicBezTo>
                  <a:pt x="336" y="101"/>
                  <a:pt x="333" y="102"/>
                  <a:pt x="331" y="103"/>
                </a:cubicBezTo>
                <a:cubicBezTo>
                  <a:pt x="330" y="102"/>
                  <a:pt x="328" y="101"/>
                  <a:pt x="326" y="99"/>
                </a:cubicBezTo>
                <a:cubicBezTo>
                  <a:pt x="320" y="95"/>
                  <a:pt x="312" y="89"/>
                  <a:pt x="303" y="92"/>
                </a:cubicBezTo>
                <a:cubicBezTo>
                  <a:pt x="294" y="95"/>
                  <a:pt x="290" y="105"/>
                  <a:pt x="288" y="111"/>
                </a:cubicBezTo>
                <a:cubicBezTo>
                  <a:pt x="287" y="113"/>
                  <a:pt x="286" y="116"/>
                  <a:pt x="285" y="117"/>
                </a:cubicBezTo>
                <a:cubicBezTo>
                  <a:pt x="284" y="118"/>
                  <a:pt x="281" y="118"/>
                  <a:pt x="279" y="118"/>
                </a:cubicBezTo>
                <a:cubicBezTo>
                  <a:pt x="271" y="118"/>
                  <a:pt x="262" y="118"/>
                  <a:pt x="256" y="125"/>
                </a:cubicBezTo>
                <a:cubicBezTo>
                  <a:pt x="250" y="133"/>
                  <a:pt x="253" y="142"/>
                  <a:pt x="255" y="149"/>
                </a:cubicBezTo>
                <a:cubicBezTo>
                  <a:pt x="255" y="151"/>
                  <a:pt x="256" y="154"/>
                  <a:pt x="256" y="156"/>
                </a:cubicBezTo>
                <a:cubicBezTo>
                  <a:pt x="255" y="157"/>
                  <a:pt x="253" y="159"/>
                  <a:pt x="251" y="160"/>
                </a:cubicBezTo>
                <a:cubicBezTo>
                  <a:pt x="246" y="164"/>
                  <a:pt x="238" y="170"/>
                  <a:pt x="238" y="180"/>
                </a:cubicBezTo>
                <a:cubicBezTo>
                  <a:pt x="237" y="189"/>
                  <a:pt x="245" y="195"/>
                  <a:pt x="251" y="199"/>
                </a:cubicBezTo>
                <a:cubicBezTo>
                  <a:pt x="252" y="201"/>
                  <a:pt x="255" y="203"/>
                  <a:pt x="256" y="204"/>
                </a:cubicBezTo>
                <a:cubicBezTo>
                  <a:pt x="256" y="205"/>
                  <a:pt x="255" y="209"/>
                  <a:pt x="254" y="211"/>
                </a:cubicBezTo>
                <a:cubicBezTo>
                  <a:pt x="252" y="218"/>
                  <a:pt x="249" y="227"/>
                  <a:pt x="255" y="235"/>
                </a:cubicBezTo>
                <a:cubicBezTo>
                  <a:pt x="260" y="242"/>
                  <a:pt x="270" y="243"/>
                  <a:pt x="277" y="243"/>
                </a:cubicBezTo>
                <a:cubicBezTo>
                  <a:pt x="279" y="243"/>
                  <a:pt x="282" y="243"/>
                  <a:pt x="284" y="244"/>
                </a:cubicBezTo>
                <a:cubicBezTo>
                  <a:pt x="284" y="245"/>
                  <a:pt x="285" y="248"/>
                  <a:pt x="286" y="250"/>
                </a:cubicBezTo>
                <a:cubicBezTo>
                  <a:pt x="288" y="257"/>
                  <a:pt x="291" y="266"/>
                  <a:pt x="300" y="269"/>
                </a:cubicBezTo>
                <a:cubicBezTo>
                  <a:pt x="309" y="272"/>
                  <a:pt x="317" y="267"/>
                  <a:pt x="323" y="263"/>
                </a:cubicBezTo>
                <a:cubicBezTo>
                  <a:pt x="325" y="261"/>
                  <a:pt x="328" y="260"/>
                  <a:pt x="329" y="259"/>
                </a:cubicBezTo>
                <a:cubicBezTo>
                  <a:pt x="331" y="260"/>
                  <a:pt x="333" y="261"/>
                  <a:pt x="335" y="263"/>
                </a:cubicBezTo>
                <a:cubicBezTo>
                  <a:pt x="339" y="266"/>
                  <a:pt x="346" y="270"/>
                  <a:pt x="353" y="270"/>
                </a:cubicBezTo>
                <a:cubicBezTo>
                  <a:pt x="354" y="270"/>
                  <a:pt x="356" y="270"/>
                  <a:pt x="358" y="270"/>
                </a:cubicBezTo>
                <a:cubicBezTo>
                  <a:pt x="367" y="267"/>
                  <a:pt x="370" y="257"/>
                  <a:pt x="373" y="251"/>
                </a:cubicBezTo>
                <a:cubicBezTo>
                  <a:pt x="374" y="249"/>
                  <a:pt x="375" y="246"/>
                  <a:pt x="375" y="245"/>
                </a:cubicBezTo>
                <a:cubicBezTo>
                  <a:pt x="377" y="244"/>
                  <a:pt x="380" y="244"/>
                  <a:pt x="382" y="244"/>
                </a:cubicBezTo>
                <a:cubicBezTo>
                  <a:pt x="389" y="244"/>
                  <a:pt x="399" y="244"/>
                  <a:pt x="405" y="237"/>
                </a:cubicBezTo>
                <a:cubicBezTo>
                  <a:pt x="410" y="229"/>
                  <a:pt x="408" y="220"/>
                  <a:pt x="406" y="213"/>
                </a:cubicBezTo>
                <a:cubicBezTo>
                  <a:pt x="405" y="211"/>
                  <a:pt x="404" y="208"/>
                  <a:pt x="404" y="206"/>
                </a:cubicBezTo>
                <a:cubicBezTo>
                  <a:pt x="405" y="205"/>
                  <a:pt x="408" y="203"/>
                  <a:pt x="409" y="202"/>
                </a:cubicBezTo>
                <a:cubicBezTo>
                  <a:pt x="415" y="198"/>
                  <a:pt x="423" y="192"/>
                  <a:pt x="423" y="182"/>
                </a:cubicBezTo>
                <a:close/>
                <a:moveTo>
                  <a:pt x="198" y="307"/>
                </a:moveTo>
                <a:cubicBezTo>
                  <a:pt x="196" y="306"/>
                  <a:pt x="194" y="305"/>
                  <a:pt x="192" y="305"/>
                </a:cubicBezTo>
                <a:cubicBezTo>
                  <a:pt x="190" y="305"/>
                  <a:pt x="189" y="306"/>
                  <a:pt x="187" y="306"/>
                </a:cubicBezTo>
                <a:cubicBezTo>
                  <a:pt x="184" y="307"/>
                  <a:pt x="181" y="310"/>
                  <a:pt x="179" y="313"/>
                </a:cubicBezTo>
                <a:cubicBezTo>
                  <a:pt x="177" y="316"/>
                  <a:pt x="177" y="320"/>
                  <a:pt x="178" y="324"/>
                </a:cubicBezTo>
                <a:cubicBezTo>
                  <a:pt x="179" y="328"/>
                  <a:pt x="182" y="330"/>
                  <a:pt x="185" y="332"/>
                </a:cubicBezTo>
                <a:cubicBezTo>
                  <a:pt x="188" y="334"/>
                  <a:pt x="192" y="334"/>
                  <a:pt x="196" y="333"/>
                </a:cubicBezTo>
                <a:cubicBezTo>
                  <a:pt x="200" y="332"/>
                  <a:pt x="202" y="330"/>
                  <a:pt x="204" y="326"/>
                </a:cubicBezTo>
                <a:cubicBezTo>
                  <a:pt x="206" y="323"/>
                  <a:pt x="206" y="319"/>
                  <a:pt x="205" y="315"/>
                </a:cubicBezTo>
                <a:cubicBezTo>
                  <a:pt x="204" y="312"/>
                  <a:pt x="202" y="309"/>
                  <a:pt x="198" y="307"/>
                </a:cubicBezTo>
                <a:close/>
                <a:moveTo>
                  <a:pt x="258" y="318"/>
                </a:moveTo>
                <a:cubicBezTo>
                  <a:pt x="259" y="319"/>
                  <a:pt x="261" y="320"/>
                  <a:pt x="262" y="321"/>
                </a:cubicBezTo>
                <a:cubicBezTo>
                  <a:pt x="260" y="322"/>
                  <a:pt x="259" y="323"/>
                  <a:pt x="258" y="324"/>
                </a:cubicBezTo>
                <a:cubicBezTo>
                  <a:pt x="253" y="327"/>
                  <a:pt x="247" y="331"/>
                  <a:pt x="245" y="338"/>
                </a:cubicBezTo>
                <a:cubicBezTo>
                  <a:pt x="243" y="344"/>
                  <a:pt x="245" y="351"/>
                  <a:pt x="247" y="357"/>
                </a:cubicBezTo>
                <a:cubicBezTo>
                  <a:pt x="247" y="358"/>
                  <a:pt x="247" y="360"/>
                  <a:pt x="248" y="361"/>
                </a:cubicBezTo>
                <a:cubicBezTo>
                  <a:pt x="246" y="362"/>
                  <a:pt x="244" y="362"/>
                  <a:pt x="243" y="362"/>
                </a:cubicBezTo>
                <a:cubicBezTo>
                  <a:pt x="237" y="362"/>
                  <a:pt x="230" y="362"/>
                  <a:pt x="224" y="366"/>
                </a:cubicBezTo>
                <a:cubicBezTo>
                  <a:pt x="219" y="370"/>
                  <a:pt x="216" y="376"/>
                  <a:pt x="214" y="382"/>
                </a:cubicBezTo>
                <a:cubicBezTo>
                  <a:pt x="214" y="383"/>
                  <a:pt x="213" y="384"/>
                  <a:pt x="212" y="386"/>
                </a:cubicBezTo>
                <a:cubicBezTo>
                  <a:pt x="211" y="385"/>
                  <a:pt x="209" y="383"/>
                  <a:pt x="208" y="382"/>
                </a:cubicBezTo>
                <a:cubicBezTo>
                  <a:pt x="203" y="379"/>
                  <a:pt x="198" y="373"/>
                  <a:pt x="191" y="373"/>
                </a:cubicBezTo>
                <a:cubicBezTo>
                  <a:pt x="191" y="373"/>
                  <a:pt x="191" y="373"/>
                  <a:pt x="191" y="373"/>
                </a:cubicBezTo>
                <a:cubicBezTo>
                  <a:pt x="184" y="373"/>
                  <a:pt x="178" y="378"/>
                  <a:pt x="173" y="382"/>
                </a:cubicBezTo>
                <a:cubicBezTo>
                  <a:pt x="172" y="383"/>
                  <a:pt x="170" y="385"/>
                  <a:pt x="169" y="386"/>
                </a:cubicBezTo>
                <a:cubicBezTo>
                  <a:pt x="169" y="385"/>
                  <a:pt x="168" y="383"/>
                  <a:pt x="168" y="382"/>
                </a:cubicBezTo>
                <a:cubicBezTo>
                  <a:pt x="166" y="376"/>
                  <a:pt x="163" y="369"/>
                  <a:pt x="158" y="365"/>
                </a:cubicBezTo>
                <a:cubicBezTo>
                  <a:pt x="152" y="361"/>
                  <a:pt x="145" y="361"/>
                  <a:pt x="139" y="360"/>
                </a:cubicBezTo>
                <a:cubicBezTo>
                  <a:pt x="138" y="360"/>
                  <a:pt x="136" y="360"/>
                  <a:pt x="135" y="360"/>
                </a:cubicBezTo>
                <a:cubicBezTo>
                  <a:pt x="135" y="359"/>
                  <a:pt x="135" y="357"/>
                  <a:pt x="136" y="356"/>
                </a:cubicBezTo>
                <a:cubicBezTo>
                  <a:pt x="138" y="350"/>
                  <a:pt x="140" y="343"/>
                  <a:pt x="138" y="336"/>
                </a:cubicBezTo>
                <a:cubicBezTo>
                  <a:pt x="136" y="330"/>
                  <a:pt x="130" y="325"/>
                  <a:pt x="125" y="321"/>
                </a:cubicBezTo>
                <a:cubicBezTo>
                  <a:pt x="124" y="321"/>
                  <a:pt x="123" y="320"/>
                  <a:pt x="122" y="319"/>
                </a:cubicBezTo>
                <a:cubicBezTo>
                  <a:pt x="123" y="318"/>
                  <a:pt x="124" y="317"/>
                  <a:pt x="125" y="316"/>
                </a:cubicBezTo>
                <a:cubicBezTo>
                  <a:pt x="130" y="312"/>
                  <a:pt x="136" y="308"/>
                  <a:pt x="138" y="302"/>
                </a:cubicBezTo>
                <a:cubicBezTo>
                  <a:pt x="140" y="295"/>
                  <a:pt x="138" y="288"/>
                  <a:pt x="137" y="282"/>
                </a:cubicBezTo>
                <a:cubicBezTo>
                  <a:pt x="136" y="281"/>
                  <a:pt x="136" y="279"/>
                  <a:pt x="136" y="278"/>
                </a:cubicBezTo>
                <a:cubicBezTo>
                  <a:pt x="137" y="278"/>
                  <a:pt x="139" y="278"/>
                  <a:pt x="140" y="278"/>
                </a:cubicBezTo>
                <a:cubicBezTo>
                  <a:pt x="146" y="278"/>
                  <a:pt x="153" y="278"/>
                  <a:pt x="159" y="274"/>
                </a:cubicBezTo>
                <a:cubicBezTo>
                  <a:pt x="165" y="270"/>
                  <a:pt x="167" y="263"/>
                  <a:pt x="169" y="258"/>
                </a:cubicBezTo>
                <a:cubicBezTo>
                  <a:pt x="170" y="256"/>
                  <a:pt x="170" y="255"/>
                  <a:pt x="171" y="253"/>
                </a:cubicBezTo>
                <a:cubicBezTo>
                  <a:pt x="172" y="254"/>
                  <a:pt x="174" y="256"/>
                  <a:pt x="175" y="257"/>
                </a:cubicBezTo>
                <a:cubicBezTo>
                  <a:pt x="180" y="261"/>
                  <a:pt x="186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cubicBezTo>
                  <a:pt x="200" y="266"/>
                  <a:pt x="205" y="261"/>
                  <a:pt x="210" y="257"/>
                </a:cubicBezTo>
                <a:cubicBezTo>
                  <a:pt x="211" y="257"/>
                  <a:pt x="213" y="254"/>
                  <a:pt x="214" y="253"/>
                </a:cubicBezTo>
                <a:cubicBezTo>
                  <a:pt x="215" y="255"/>
                  <a:pt x="215" y="257"/>
                  <a:pt x="216" y="258"/>
                </a:cubicBezTo>
                <a:cubicBezTo>
                  <a:pt x="218" y="264"/>
                  <a:pt x="220" y="270"/>
                  <a:pt x="226" y="274"/>
                </a:cubicBezTo>
                <a:cubicBezTo>
                  <a:pt x="231" y="278"/>
                  <a:pt x="238" y="279"/>
                  <a:pt x="244" y="279"/>
                </a:cubicBezTo>
                <a:cubicBezTo>
                  <a:pt x="245" y="279"/>
                  <a:pt x="247" y="279"/>
                  <a:pt x="249" y="279"/>
                </a:cubicBezTo>
                <a:cubicBezTo>
                  <a:pt x="248" y="281"/>
                  <a:pt x="248" y="282"/>
                  <a:pt x="248" y="283"/>
                </a:cubicBezTo>
                <a:cubicBezTo>
                  <a:pt x="246" y="289"/>
                  <a:pt x="244" y="296"/>
                  <a:pt x="246" y="303"/>
                </a:cubicBezTo>
                <a:cubicBezTo>
                  <a:pt x="248" y="310"/>
                  <a:pt x="253" y="314"/>
                  <a:pt x="258" y="318"/>
                </a:cubicBezTo>
                <a:close/>
                <a:moveTo>
                  <a:pt x="226" y="309"/>
                </a:moveTo>
                <a:cubicBezTo>
                  <a:pt x="223" y="300"/>
                  <a:pt x="217" y="293"/>
                  <a:pt x="208" y="288"/>
                </a:cubicBezTo>
                <a:cubicBezTo>
                  <a:pt x="200" y="284"/>
                  <a:pt x="190" y="283"/>
                  <a:pt x="181" y="286"/>
                </a:cubicBezTo>
                <a:cubicBezTo>
                  <a:pt x="172" y="289"/>
                  <a:pt x="165" y="295"/>
                  <a:pt x="160" y="303"/>
                </a:cubicBezTo>
                <a:cubicBezTo>
                  <a:pt x="156" y="312"/>
                  <a:pt x="155" y="321"/>
                  <a:pt x="158" y="330"/>
                </a:cubicBezTo>
                <a:cubicBezTo>
                  <a:pt x="161" y="339"/>
                  <a:pt x="167" y="347"/>
                  <a:pt x="175" y="351"/>
                </a:cubicBezTo>
                <a:cubicBezTo>
                  <a:pt x="180" y="354"/>
                  <a:pt x="186" y="355"/>
                  <a:pt x="192" y="355"/>
                </a:cubicBezTo>
                <a:cubicBezTo>
                  <a:pt x="195" y="355"/>
                  <a:pt x="199" y="355"/>
                  <a:pt x="202" y="354"/>
                </a:cubicBezTo>
                <a:cubicBezTo>
                  <a:pt x="211" y="351"/>
                  <a:pt x="219" y="345"/>
                  <a:pt x="223" y="336"/>
                </a:cubicBezTo>
                <a:cubicBezTo>
                  <a:pt x="228" y="328"/>
                  <a:pt x="228" y="318"/>
                  <a:pt x="226" y="309"/>
                </a:cubicBezTo>
                <a:close/>
              </a:path>
            </a:pathLst>
          </a:custGeom>
          <a:solidFill>
            <a:srgbClr val="00ABAB"/>
          </a:solidFill>
          <a:ln>
            <a:noFill/>
          </a:ln>
          <a:extLst/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GB" sz="1359"/>
          </a:p>
        </p:txBody>
      </p:sp>
      <p:sp>
        <p:nvSpPr>
          <p:cNvPr id="41" name="Freeform 10">
            <a:extLst>
              <a:ext uri="{FF2B5EF4-FFF2-40B4-BE49-F238E27FC236}">
                <a16:creationId xmlns:a16="http://schemas.microsoft.com/office/drawing/2014/main" id="{DAEC263E-8726-4F79-8ED8-E5140C62E715}"/>
              </a:ext>
            </a:extLst>
          </p:cNvPr>
          <p:cNvSpPr>
            <a:spLocks noEditPoints="1"/>
          </p:cNvSpPr>
          <p:nvPr/>
        </p:nvSpPr>
        <p:spPr bwMode="auto">
          <a:xfrm>
            <a:off x="7295644" y="3054440"/>
            <a:ext cx="972000" cy="972000"/>
          </a:xfrm>
          <a:custGeom>
            <a:avLst/>
            <a:gdLst>
              <a:gd name="T0" fmla="*/ 632 w 754"/>
              <a:gd name="T1" fmla="*/ 553 h 754"/>
              <a:gd name="T2" fmla="*/ 427 w 754"/>
              <a:gd name="T3" fmla="*/ 532 h 754"/>
              <a:gd name="T4" fmla="*/ 334 w 754"/>
              <a:gd name="T5" fmla="*/ 502 h 754"/>
              <a:gd name="T6" fmla="*/ 583 w 754"/>
              <a:gd name="T7" fmla="*/ 474 h 754"/>
              <a:gd name="T8" fmla="*/ 533 w 754"/>
              <a:gd name="T9" fmla="*/ 424 h 754"/>
              <a:gd name="T10" fmla="*/ 501 w 754"/>
              <a:gd name="T11" fmla="*/ 451 h 754"/>
              <a:gd name="T12" fmla="*/ 390 w 754"/>
              <a:gd name="T13" fmla="*/ 402 h 754"/>
              <a:gd name="T14" fmla="*/ 394 w 754"/>
              <a:gd name="T15" fmla="*/ 407 h 754"/>
              <a:gd name="T16" fmla="*/ 372 w 754"/>
              <a:gd name="T17" fmla="*/ 365 h 754"/>
              <a:gd name="T18" fmla="*/ 513 w 754"/>
              <a:gd name="T19" fmla="*/ 312 h 754"/>
              <a:gd name="T20" fmla="*/ 374 w 754"/>
              <a:gd name="T21" fmla="*/ 324 h 754"/>
              <a:gd name="T22" fmla="*/ 380 w 754"/>
              <a:gd name="T23" fmla="*/ 369 h 754"/>
              <a:gd name="T24" fmla="*/ 384 w 754"/>
              <a:gd name="T25" fmla="*/ 406 h 754"/>
              <a:gd name="T26" fmla="*/ 447 w 754"/>
              <a:gd name="T27" fmla="*/ 437 h 754"/>
              <a:gd name="T28" fmla="*/ 500 w 754"/>
              <a:gd name="T29" fmla="*/ 396 h 754"/>
              <a:gd name="T30" fmla="*/ 522 w 754"/>
              <a:gd name="T31" fmla="*/ 324 h 754"/>
              <a:gd name="T32" fmla="*/ 397 w 754"/>
              <a:gd name="T33" fmla="*/ 324 h 754"/>
              <a:gd name="T34" fmla="*/ 391 w 754"/>
              <a:gd name="T35" fmla="*/ 302 h 754"/>
              <a:gd name="T36" fmla="*/ 392 w 754"/>
              <a:gd name="T37" fmla="*/ 371 h 754"/>
              <a:gd name="T38" fmla="*/ 456 w 754"/>
              <a:gd name="T39" fmla="*/ 402 h 754"/>
              <a:gd name="T40" fmla="*/ 463 w 754"/>
              <a:gd name="T41" fmla="*/ 403 h 754"/>
              <a:gd name="T42" fmla="*/ 446 w 754"/>
              <a:gd name="T43" fmla="*/ 396 h 754"/>
              <a:gd name="T44" fmla="*/ 441 w 754"/>
              <a:gd name="T45" fmla="*/ 406 h 754"/>
              <a:gd name="T46" fmla="*/ 451 w 754"/>
              <a:gd name="T47" fmla="*/ 371 h 754"/>
              <a:gd name="T48" fmla="*/ 438 w 754"/>
              <a:gd name="T49" fmla="*/ 355 h 754"/>
              <a:gd name="T50" fmla="*/ 427 w 754"/>
              <a:gd name="T51" fmla="*/ 407 h 754"/>
              <a:gd name="T52" fmla="*/ 418 w 754"/>
              <a:gd name="T53" fmla="*/ 313 h 754"/>
              <a:gd name="T54" fmla="*/ 416 w 754"/>
              <a:gd name="T55" fmla="*/ 304 h 754"/>
              <a:gd name="T56" fmla="*/ 410 w 754"/>
              <a:gd name="T57" fmla="*/ 349 h 754"/>
              <a:gd name="T58" fmla="*/ 418 w 754"/>
              <a:gd name="T59" fmla="*/ 407 h 754"/>
              <a:gd name="T60" fmla="*/ 416 w 754"/>
              <a:gd name="T61" fmla="*/ 399 h 754"/>
              <a:gd name="T62" fmla="*/ 426 w 754"/>
              <a:gd name="T63" fmla="*/ 310 h 754"/>
              <a:gd name="T64" fmla="*/ 436 w 754"/>
              <a:gd name="T65" fmla="*/ 360 h 754"/>
              <a:gd name="T66" fmla="*/ 428 w 754"/>
              <a:gd name="T67" fmla="*/ 349 h 754"/>
              <a:gd name="T68" fmla="*/ 440 w 754"/>
              <a:gd name="T69" fmla="*/ 321 h 754"/>
              <a:gd name="T70" fmla="*/ 472 w 754"/>
              <a:gd name="T71" fmla="*/ 313 h 754"/>
              <a:gd name="T72" fmla="*/ 470 w 754"/>
              <a:gd name="T73" fmla="*/ 304 h 754"/>
              <a:gd name="T74" fmla="*/ 456 w 754"/>
              <a:gd name="T75" fmla="*/ 360 h 754"/>
              <a:gd name="T76" fmla="*/ 481 w 754"/>
              <a:gd name="T77" fmla="*/ 324 h 754"/>
              <a:gd name="T78" fmla="*/ 487 w 754"/>
              <a:gd name="T79" fmla="*/ 302 h 754"/>
              <a:gd name="T80" fmla="*/ 476 w 754"/>
              <a:gd name="T81" fmla="*/ 368 h 754"/>
              <a:gd name="T82" fmla="*/ 490 w 754"/>
              <a:gd name="T83" fmla="*/ 407 h 754"/>
              <a:gd name="T84" fmla="*/ 488 w 754"/>
              <a:gd name="T85" fmla="*/ 399 h 754"/>
              <a:gd name="T86" fmla="*/ 498 w 754"/>
              <a:gd name="T87" fmla="*/ 310 h 754"/>
              <a:gd name="T88" fmla="*/ 505 w 754"/>
              <a:gd name="T89" fmla="*/ 371 h 754"/>
              <a:gd name="T90" fmla="*/ 492 w 754"/>
              <a:gd name="T91" fmla="*/ 355 h 754"/>
              <a:gd name="T92" fmla="*/ 518 w 754"/>
              <a:gd name="T93" fmla="*/ 349 h 754"/>
              <a:gd name="T94" fmla="*/ 512 w 754"/>
              <a:gd name="T95" fmla="*/ 351 h 754"/>
              <a:gd name="T96" fmla="*/ 520 w 754"/>
              <a:gd name="T97" fmla="*/ 365 h 754"/>
              <a:gd name="T98" fmla="*/ 484 w 754"/>
              <a:gd name="T99" fmla="*/ 402 h 754"/>
              <a:gd name="T100" fmla="*/ 484 w 754"/>
              <a:gd name="T101" fmla="*/ 365 h 754"/>
              <a:gd name="T102" fmla="*/ 480 w 754"/>
              <a:gd name="T103" fmla="*/ 365 h 754"/>
              <a:gd name="T104" fmla="*/ 464 w 754"/>
              <a:gd name="T105" fmla="*/ 353 h 754"/>
              <a:gd name="T106" fmla="*/ 466 w 754"/>
              <a:gd name="T107" fmla="*/ 318 h 754"/>
              <a:gd name="T108" fmla="*/ 464 w 754"/>
              <a:gd name="T109" fmla="*/ 319 h 754"/>
              <a:gd name="T110" fmla="*/ 444 w 754"/>
              <a:gd name="T111" fmla="*/ 308 h 754"/>
              <a:gd name="T112" fmla="*/ 430 w 754"/>
              <a:gd name="T113" fmla="*/ 360 h 754"/>
              <a:gd name="T114" fmla="*/ 429 w 754"/>
              <a:gd name="T115" fmla="*/ 365 h 754"/>
              <a:gd name="T116" fmla="*/ 408 w 754"/>
              <a:gd name="T117" fmla="*/ 407 h 754"/>
              <a:gd name="T118" fmla="*/ 411 w 754"/>
              <a:gd name="T119" fmla="*/ 308 h 754"/>
              <a:gd name="T120" fmla="*/ 393 w 754"/>
              <a:gd name="T121" fmla="*/ 365 h 754"/>
              <a:gd name="T122" fmla="*/ 390 w 754"/>
              <a:gd name="T123" fmla="*/ 365 h 7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54" h="754">
                <a:moveTo>
                  <a:pt x="754" y="377"/>
                </a:moveTo>
                <a:lnTo>
                  <a:pt x="754" y="377"/>
                </a:lnTo>
                <a:cubicBezTo>
                  <a:pt x="754" y="169"/>
                  <a:pt x="585" y="0"/>
                  <a:pt x="377" y="0"/>
                </a:cubicBezTo>
                <a:cubicBezTo>
                  <a:pt x="169" y="0"/>
                  <a:pt x="0" y="169"/>
                  <a:pt x="0" y="377"/>
                </a:cubicBezTo>
                <a:cubicBezTo>
                  <a:pt x="0" y="585"/>
                  <a:pt x="169" y="754"/>
                  <a:pt x="377" y="754"/>
                </a:cubicBezTo>
                <a:cubicBezTo>
                  <a:pt x="585" y="754"/>
                  <a:pt x="754" y="585"/>
                  <a:pt x="754" y="377"/>
                </a:cubicBezTo>
                <a:close/>
                <a:moveTo>
                  <a:pt x="632" y="553"/>
                </a:moveTo>
                <a:lnTo>
                  <a:pt x="632" y="553"/>
                </a:lnTo>
                <a:cubicBezTo>
                  <a:pt x="628" y="557"/>
                  <a:pt x="622" y="559"/>
                  <a:pt x="617" y="559"/>
                </a:cubicBezTo>
                <a:cubicBezTo>
                  <a:pt x="611" y="559"/>
                  <a:pt x="606" y="557"/>
                  <a:pt x="602" y="553"/>
                </a:cubicBezTo>
                <a:lnTo>
                  <a:pt x="551" y="502"/>
                </a:lnTo>
                <a:lnTo>
                  <a:pt x="364" y="502"/>
                </a:lnTo>
                <a:lnTo>
                  <a:pt x="364" y="532"/>
                </a:lnTo>
                <a:lnTo>
                  <a:pt x="427" y="532"/>
                </a:lnTo>
                <a:cubicBezTo>
                  <a:pt x="436" y="532"/>
                  <a:pt x="443" y="539"/>
                  <a:pt x="443" y="548"/>
                </a:cubicBezTo>
                <a:cubicBezTo>
                  <a:pt x="443" y="557"/>
                  <a:pt x="436" y="562"/>
                  <a:pt x="427" y="562"/>
                </a:cubicBezTo>
                <a:lnTo>
                  <a:pt x="271" y="562"/>
                </a:lnTo>
                <a:cubicBezTo>
                  <a:pt x="262" y="562"/>
                  <a:pt x="256" y="557"/>
                  <a:pt x="256" y="548"/>
                </a:cubicBezTo>
                <a:cubicBezTo>
                  <a:pt x="256" y="539"/>
                  <a:pt x="262" y="532"/>
                  <a:pt x="271" y="532"/>
                </a:cubicBezTo>
                <a:lnTo>
                  <a:pt x="334" y="532"/>
                </a:lnTo>
                <a:lnTo>
                  <a:pt x="334" y="502"/>
                </a:lnTo>
                <a:lnTo>
                  <a:pt x="131" y="502"/>
                </a:lnTo>
                <a:cubicBezTo>
                  <a:pt x="122" y="502"/>
                  <a:pt x="116" y="494"/>
                  <a:pt x="116" y="486"/>
                </a:cubicBezTo>
                <a:lnTo>
                  <a:pt x="116" y="207"/>
                </a:lnTo>
                <a:cubicBezTo>
                  <a:pt x="116" y="198"/>
                  <a:pt x="122" y="191"/>
                  <a:pt x="131" y="191"/>
                </a:cubicBezTo>
                <a:lnTo>
                  <a:pt x="567" y="191"/>
                </a:lnTo>
                <a:cubicBezTo>
                  <a:pt x="576" y="191"/>
                  <a:pt x="583" y="198"/>
                  <a:pt x="583" y="207"/>
                </a:cubicBezTo>
                <a:lnTo>
                  <a:pt x="583" y="474"/>
                </a:lnTo>
                <a:lnTo>
                  <a:pt x="632" y="522"/>
                </a:lnTo>
                <a:cubicBezTo>
                  <a:pt x="640" y="531"/>
                  <a:pt x="640" y="544"/>
                  <a:pt x="632" y="553"/>
                </a:cubicBezTo>
                <a:close/>
                <a:moveTo>
                  <a:pt x="533" y="424"/>
                </a:moveTo>
                <a:lnTo>
                  <a:pt x="533" y="424"/>
                </a:lnTo>
                <a:lnTo>
                  <a:pt x="551" y="441"/>
                </a:lnTo>
                <a:lnTo>
                  <a:pt x="551" y="391"/>
                </a:lnTo>
                <a:cubicBezTo>
                  <a:pt x="547" y="403"/>
                  <a:pt x="541" y="414"/>
                  <a:pt x="533" y="424"/>
                </a:cubicBezTo>
                <a:close/>
                <a:moveTo>
                  <a:pt x="551" y="321"/>
                </a:moveTo>
                <a:lnTo>
                  <a:pt x="551" y="321"/>
                </a:lnTo>
                <a:lnTo>
                  <a:pt x="551" y="223"/>
                </a:lnTo>
                <a:lnTo>
                  <a:pt x="147" y="223"/>
                </a:lnTo>
                <a:lnTo>
                  <a:pt x="147" y="470"/>
                </a:lnTo>
                <a:lnTo>
                  <a:pt x="519" y="470"/>
                </a:lnTo>
                <a:lnTo>
                  <a:pt x="501" y="451"/>
                </a:lnTo>
                <a:cubicBezTo>
                  <a:pt x="485" y="460"/>
                  <a:pt x="467" y="465"/>
                  <a:pt x="447" y="465"/>
                </a:cubicBezTo>
                <a:cubicBezTo>
                  <a:pt x="387" y="465"/>
                  <a:pt x="338" y="416"/>
                  <a:pt x="338" y="355"/>
                </a:cubicBezTo>
                <a:cubicBezTo>
                  <a:pt x="338" y="295"/>
                  <a:pt x="387" y="246"/>
                  <a:pt x="447" y="246"/>
                </a:cubicBezTo>
                <a:cubicBezTo>
                  <a:pt x="496" y="246"/>
                  <a:pt x="537" y="278"/>
                  <a:pt x="551" y="321"/>
                </a:cubicBezTo>
                <a:close/>
                <a:moveTo>
                  <a:pt x="392" y="401"/>
                </a:moveTo>
                <a:lnTo>
                  <a:pt x="392" y="401"/>
                </a:lnTo>
                <a:cubicBezTo>
                  <a:pt x="391" y="401"/>
                  <a:pt x="390" y="401"/>
                  <a:pt x="390" y="402"/>
                </a:cubicBezTo>
                <a:cubicBezTo>
                  <a:pt x="390" y="403"/>
                  <a:pt x="390" y="405"/>
                  <a:pt x="390" y="407"/>
                </a:cubicBezTo>
                <a:cubicBezTo>
                  <a:pt x="390" y="410"/>
                  <a:pt x="390" y="412"/>
                  <a:pt x="390" y="412"/>
                </a:cubicBezTo>
                <a:cubicBezTo>
                  <a:pt x="390" y="413"/>
                  <a:pt x="390" y="413"/>
                  <a:pt x="390" y="413"/>
                </a:cubicBezTo>
                <a:cubicBezTo>
                  <a:pt x="391" y="413"/>
                  <a:pt x="391" y="413"/>
                  <a:pt x="391" y="414"/>
                </a:cubicBezTo>
                <a:cubicBezTo>
                  <a:pt x="391" y="414"/>
                  <a:pt x="392" y="414"/>
                  <a:pt x="392" y="414"/>
                </a:cubicBezTo>
                <a:cubicBezTo>
                  <a:pt x="392" y="414"/>
                  <a:pt x="393" y="413"/>
                  <a:pt x="393" y="412"/>
                </a:cubicBezTo>
                <a:cubicBezTo>
                  <a:pt x="394" y="411"/>
                  <a:pt x="394" y="410"/>
                  <a:pt x="394" y="407"/>
                </a:cubicBezTo>
                <a:cubicBezTo>
                  <a:pt x="394" y="405"/>
                  <a:pt x="394" y="403"/>
                  <a:pt x="393" y="402"/>
                </a:cubicBezTo>
                <a:cubicBezTo>
                  <a:pt x="393" y="401"/>
                  <a:pt x="392" y="401"/>
                  <a:pt x="392" y="401"/>
                </a:cubicBezTo>
                <a:close/>
                <a:moveTo>
                  <a:pt x="374" y="353"/>
                </a:moveTo>
                <a:lnTo>
                  <a:pt x="374" y="353"/>
                </a:lnTo>
                <a:cubicBezTo>
                  <a:pt x="373" y="353"/>
                  <a:pt x="372" y="354"/>
                  <a:pt x="372" y="355"/>
                </a:cubicBezTo>
                <a:cubicBezTo>
                  <a:pt x="372" y="356"/>
                  <a:pt x="372" y="358"/>
                  <a:pt x="372" y="360"/>
                </a:cubicBezTo>
                <a:cubicBezTo>
                  <a:pt x="372" y="363"/>
                  <a:pt x="372" y="364"/>
                  <a:pt x="372" y="365"/>
                </a:cubicBezTo>
                <a:cubicBezTo>
                  <a:pt x="372" y="366"/>
                  <a:pt x="373" y="367"/>
                  <a:pt x="374" y="367"/>
                </a:cubicBezTo>
                <a:cubicBezTo>
                  <a:pt x="374" y="367"/>
                  <a:pt x="375" y="366"/>
                  <a:pt x="375" y="365"/>
                </a:cubicBezTo>
                <a:cubicBezTo>
                  <a:pt x="376" y="364"/>
                  <a:pt x="376" y="362"/>
                  <a:pt x="376" y="360"/>
                </a:cubicBezTo>
                <a:cubicBezTo>
                  <a:pt x="376" y="358"/>
                  <a:pt x="376" y="356"/>
                  <a:pt x="375" y="355"/>
                </a:cubicBezTo>
                <a:cubicBezTo>
                  <a:pt x="375" y="354"/>
                  <a:pt x="374" y="353"/>
                  <a:pt x="374" y="353"/>
                </a:cubicBezTo>
                <a:close/>
                <a:moveTo>
                  <a:pt x="513" y="312"/>
                </a:moveTo>
                <a:lnTo>
                  <a:pt x="513" y="312"/>
                </a:lnTo>
                <a:lnTo>
                  <a:pt x="510" y="308"/>
                </a:lnTo>
                <a:lnTo>
                  <a:pt x="512" y="307"/>
                </a:lnTo>
                <a:cubicBezTo>
                  <a:pt x="497" y="287"/>
                  <a:pt x="474" y="274"/>
                  <a:pt x="447" y="274"/>
                </a:cubicBezTo>
                <a:cubicBezTo>
                  <a:pt x="420" y="274"/>
                  <a:pt x="396" y="288"/>
                  <a:pt x="381" y="309"/>
                </a:cubicBezTo>
                <a:cubicBezTo>
                  <a:pt x="381" y="310"/>
                  <a:pt x="382" y="311"/>
                  <a:pt x="382" y="313"/>
                </a:cubicBezTo>
                <a:cubicBezTo>
                  <a:pt x="382" y="317"/>
                  <a:pt x="381" y="319"/>
                  <a:pt x="380" y="321"/>
                </a:cubicBezTo>
                <a:cubicBezTo>
                  <a:pt x="378" y="323"/>
                  <a:pt x="376" y="324"/>
                  <a:pt x="374" y="324"/>
                </a:cubicBezTo>
                <a:cubicBezTo>
                  <a:pt x="373" y="324"/>
                  <a:pt x="373" y="324"/>
                  <a:pt x="373" y="324"/>
                </a:cubicBezTo>
                <a:cubicBezTo>
                  <a:pt x="369" y="333"/>
                  <a:pt x="367" y="343"/>
                  <a:pt x="366" y="354"/>
                </a:cubicBezTo>
                <a:cubicBezTo>
                  <a:pt x="367" y="353"/>
                  <a:pt x="367" y="352"/>
                  <a:pt x="368" y="351"/>
                </a:cubicBezTo>
                <a:cubicBezTo>
                  <a:pt x="369" y="350"/>
                  <a:pt x="371" y="349"/>
                  <a:pt x="374" y="349"/>
                </a:cubicBezTo>
                <a:cubicBezTo>
                  <a:pt x="376" y="349"/>
                  <a:pt x="378" y="350"/>
                  <a:pt x="380" y="352"/>
                </a:cubicBezTo>
                <a:cubicBezTo>
                  <a:pt x="381" y="353"/>
                  <a:pt x="382" y="356"/>
                  <a:pt x="382" y="360"/>
                </a:cubicBezTo>
                <a:cubicBezTo>
                  <a:pt x="382" y="364"/>
                  <a:pt x="381" y="367"/>
                  <a:pt x="380" y="369"/>
                </a:cubicBezTo>
                <a:cubicBezTo>
                  <a:pt x="378" y="370"/>
                  <a:pt x="376" y="371"/>
                  <a:pt x="374" y="371"/>
                </a:cubicBezTo>
                <a:cubicBezTo>
                  <a:pt x="371" y="371"/>
                  <a:pt x="369" y="370"/>
                  <a:pt x="368" y="368"/>
                </a:cubicBezTo>
                <a:cubicBezTo>
                  <a:pt x="368" y="368"/>
                  <a:pt x="367" y="368"/>
                  <a:pt x="367" y="368"/>
                </a:cubicBezTo>
                <a:cubicBezTo>
                  <a:pt x="369" y="379"/>
                  <a:pt x="373" y="388"/>
                  <a:pt x="378" y="397"/>
                </a:cubicBezTo>
                <a:cubicBezTo>
                  <a:pt x="379" y="398"/>
                  <a:pt x="379" y="398"/>
                  <a:pt x="380" y="399"/>
                </a:cubicBezTo>
                <a:cubicBezTo>
                  <a:pt x="380" y="400"/>
                  <a:pt x="381" y="401"/>
                  <a:pt x="381" y="402"/>
                </a:cubicBezTo>
                <a:cubicBezTo>
                  <a:pt x="382" y="403"/>
                  <a:pt x="383" y="404"/>
                  <a:pt x="384" y="406"/>
                </a:cubicBezTo>
                <a:cubicBezTo>
                  <a:pt x="384" y="403"/>
                  <a:pt x="385" y="400"/>
                  <a:pt x="386" y="399"/>
                </a:cubicBezTo>
                <a:cubicBezTo>
                  <a:pt x="387" y="397"/>
                  <a:pt x="389" y="396"/>
                  <a:pt x="392" y="396"/>
                </a:cubicBezTo>
                <a:cubicBezTo>
                  <a:pt x="394" y="396"/>
                  <a:pt x="396" y="397"/>
                  <a:pt x="398" y="399"/>
                </a:cubicBezTo>
                <a:cubicBezTo>
                  <a:pt x="399" y="401"/>
                  <a:pt x="400" y="404"/>
                  <a:pt x="400" y="407"/>
                </a:cubicBezTo>
                <a:cubicBezTo>
                  <a:pt x="400" y="411"/>
                  <a:pt x="399" y="414"/>
                  <a:pt x="398" y="416"/>
                </a:cubicBezTo>
                <a:cubicBezTo>
                  <a:pt x="397" y="417"/>
                  <a:pt x="396" y="417"/>
                  <a:pt x="396" y="418"/>
                </a:cubicBezTo>
                <a:cubicBezTo>
                  <a:pt x="410" y="429"/>
                  <a:pt x="428" y="437"/>
                  <a:pt x="447" y="437"/>
                </a:cubicBezTo>
                <a:cubicBezTo>
                  <a:pt x="467" y="437"/>
                  <a:pt x="485" y="430"/>
                  <a:pt x="499" y="418"/>
                </a:cubicBezTo>
                <a:lnTo>
                  <a:pt x="499" y="407"/>
                </a:lnTo>
                <a:cubicBezTo>
                  <a:pt x="499" y="405"/>
                  <a:pt x="499" y="404"/>
                  <a:pt x="499" y="403"/>
                </a:cubicBezTo>
                <a:cubicBezTo>
                  <a:pt x="499" y="403"/>
                  <a:pt x="498" y="404"/>
                  <a:pt x="498" y="404"/>
                </a:cubicBezTo>
                <a:lnTo>
                  <a:pt x="495" y="406"/>
                </a:lnTo>
                <a:lnTo>
                  <a:pt x="492" y="402"/>
                </a:lnTo>
                <a:lnTo>
                  <a:pt x="500" y="396"/>
                </a:lnTo>
                <a:lnTo>
                  <a:pt x="505" y="396"/>
                </a:lnTo>
                <a:lnTo>
                  <a:pt x="505" y="412"/>
                </a:lnTo>
                <a:cubicBezTo>
                  <a:pt x="507" y="411"/>
                  <a:pt x="509" y="409"/>
                  <a:pt x="510" y="407"/>
                </a:cubicBezTo>
                <a:cubicBezTo>
                  <a:pt x="510" y="403"/>
                  <a:pt x="511" y="400"/>
                  <a:pt x="512" y="399"/>
                </a:cubicBezTo>
                <a:cubicBezTo>
                  <a:pt x="513" y="397"/>
                  <a:pt x="515" y="396"/>
                  <a:pt x="518" y="396"/>
                </a:cubicBezTo>
                <a:cubicBezTo>
                  <a:pt x="525" y="384"/>
                  <a:pt x="529" y="370"/>
                  <a:pt x="529" y="355"/>
                </a:cubicBezTo>
                <a:cubicBezTo>
                  <a:pt x="529" y="344"/>
                  <a:pt x="526" y="333"/>
                  <a:pt x="522" y="324"/>
                </a:cubicBezTo>
                <a:lnTo>
                  <a:pt x="517" y="324"/>
                </a:lnTo>
                <a:lnTo>
                  <a:pt x="517" y="314"/>
                </a:lnTo>
                <a:cubicBezTo>
                  <a:pt x="516" y="313"/>
                  <a:pt x="516" y="312"/>
                  <a:pt x="515" y="310"/>
                </a:cubicBezTo>
                <a:lnTo>
                  <a:pt x="513" y="312"/>
                </a:lnTo>
                <a:lnTo>
                  <a:pt x="513" y="312"/>
                </a:lnTo>
                <a:close/>
                <a:moveTo>
                  <a:pt x="397" y="324"/>
                </a:moveTo>
                <a:lnTo>
                  <a:pt x="397" y="324"/>
                </a:lnTo>
                <a:lnTo>
                  <a:pt x="391" y="324"/>
                </a:lnTo>
                <a:lnTo>
                  <a:pt x="391" y="312"/>
                </a:lnTo>
                <a:cubicBezTo>
                  <a:pt x="391" y="311"/>
                  <a:pt x="391" y="309"/>
                  <a:pt x="391" y="308"/>
                </a:cubicBezTo>
                <a:cubicBezTo>
                  <a:pt x="391" y="309"/>
                  <a:pt x="390" y="309"/>
                  <a:pt x="390" y="310"/>
                </a:cubicBezTo>
                <a:lnTo>
                  <a:pt x="387" y="312"/>
                </a:lnTo>
                <a:lnTo>
                  <a:pt x="384" y="308"/>
                </a:lnTo>
                <a:lnTo>
                  <a:pt x="391" y="302"/>
                </a:lnTo>
                <a:lnTo>
                  <a:pt x="397" y="302"/>
                </a:lnTo>
                <a:lnTo>
                  <a:pt x="397" y="324"/>
                </a:lnTo>
                <a:lnTo>
                  <a:pt x="397" y="324"/>
                </a:lnTo>
                <a:close/>
                <a:moveTo>
                  <a:pt x="400" y="360"/>
                </a:moveTo>
                <a:lnTo>
                  <a:pt x="400" y="360"/>
                </a:lnTo>
                <a:cubicBezTo>
                  <a:pt x="400" y="364"/>
                  <a:pt x="399" y="367"/>
                  <a:pt x="398" y="369"/>
                </a:cubicBezTo>
                <a:cubicBezTo>
                  <a:pt x="396" y="370"/>
                  <a:pt x="394" y="371"/>
                  <a:pt x="392" y="371"/>
                </a:cubicBezTo>
                <a:cubicBezTo>
                  <a:pt x="389" y="371"/>
                  <a:pt x="387" y="370"/>
                  <a:pt x="386" y="368"/>
                </a:cubicBezTo>
                <a:cubicBezTo>
                  <a:pt x="384" y="367"/>
                  <a:pt x="384" y="364"/>
                  <a:pt x="384" y="360"/>
                </a:cubicBezTo>
                <a:cubicBezTo>
                  <a:pt x="384" y="356"/>
                  <a:pt x="384" y="353"/>
                  <a:pt x="386" y="351"/>
                </a:cubicBezTo>
                <a:cubicBezTo>
                  <a:pt x="387" y="350"/>
                  <a:pt x="389" y="349"/>
                  <a:pt x="392" y="349"/>
                </a:cubicBezTo>
                <a:cubicBezTo>
                  <a:pt x="394" y="349"/>
                  <a:pt x="396" y="350"/>
                  <a:pt x="398" y="352"/>
                </a:cubicBezTo>
                <a:cubicBezTo>
                  <a:pt x="399" y="353"/>
                  <a:pt x="400" y="356"/>
                  <a:pt x="400" y="360"/>
                </a:cubicBezTo>
                <a:close/>
                <a:moveTo>
                  <a:pt x="456" y="402"/>
                </a:moveTo>
                <a:lnTo>
                  <a:pt x="456" y="402"/>
                </a:lnTo>
                <a:lnTo>
                  <a:pt x="464" y="396"/>
                </a:lnTo>
                <a:lnTo>
                  <a:pt x="469" y="396"/>
                </a:lnTo>
                <a:lnTo>
                  <a:pt x="469" y="418"/>
                </a:lnTo>
                <a:lnTo>
                  <a:pt x="463" y="418"/>
                </a:lnTo>
                <a:lnTo>
                  <a:pt x="463" y="407"/>
                </a:lnTo>
                <a:cubicBezTo>
                  <a:pt x="463" y="405"/>
                  <a:pt x="463" y="404"/>
                  <a:pt x="463" y="403"/>
                </a:cubicBezTo>
                <a:cubicBezTo>
                  <a:pt x="463" y="403"/>
                  <a:pt x="462" y="404"/>
                  <a:pt x="462" y="404"/>
                </a:cubicBezTo>
                <a:lnTo>
                  <a:pt x="459" y="406"/>
                </a:lnTo>
                <a:lnTo>
                  <a:pt x="456" y="402"/>
                </a:lnTo>
                <a:lnTo>
                  <a:pt x="456" y="402"/>
                </a:lnTo>
                <a:close/>
                <a:moveTo>
                  <a:pt x="438" y="402"/>
                </a:moveTo>
                <a:lnTo>
                  <a:pt x="438" y="402"/>
                </a:lnTo>
                <a:lnTo>
                  <a:pt x="446" y="396"/>
                </a:lnTo>
                <a:lnTo>
                  <a:pt x="451" y="396"/>
                </a:lnTo>
                <a:lnTo>
                  <a:pt x="451" y="418"/>
                </a:lnTo>
                <a:lnTo>
                  <a:pt x="445" y="418"/>
                </a:lnTo>
                <a:lnTo>
                  <a:pt x="445" y="407"/>
                </a:lnTo>
                <a:cubicBezTo>
                  <a:pt x="445" y="405"/>
                  <a:pt x="445" y="404"/>
                  <a:pt x="445" y="403"/>
                </a:cubicBezTo>
                <a:cubicBezTo>
                  <a:pt x="445" y="403"/>
                  <a:pt x="444" y="404"/>
                  <a:pt x="444" y="404"/>
                </a:cubicBezTo>
                <a:lnTo>
                  <a:pt x="441" y="406"/>
                </a:lnTo>
                <a:lnTo>
                  <a:pt x="438" y="402"/>
                </a:lnTo>
                <a:lnTo>
                  <a:pt x="438" y="402"/>
                </a:lnTo>
                <a:close/>
                <a:moveTo>
                  <a:pt x="438" y="355"/>
                </a:moveTo>
                <a:lnTo>
                  <a:pt x="438" y="355"/>
                </a:lnTo>
                <a:lnTo>
                  <a:pt x="446" y="349"/>
                </a:lnTo>
                <a:lnTo>
                  <a:pt x="451" y="349"/>
                </a:lnTo>
                <a:lnTo>
                  <a:pt x="451" y="371"/>
                </a:lnTo>
                <a:lnTo>
                  <a:pt x="445" y="371"/>
                </a:lnTo>
                <a:lnTo>
                  <a:pt x="445" y="359"/>
                </a:lnTo>
                <a:cubicBezTo>
                  <a:pt x="445" y="358"/>
                  <a:pt x="445" y="357"/>
                  <a:pt x="445" y="355"/>
                </a:cubicBezTo>
                <a:cubicBezTo>
                  <a:pt x="445" y="356"/>
                  <a:pt x="444" y="356"/>
                  <a:pt x="444" y="357"/>
                </a:cubicBezTo>
                <a:lnTo>
                  <a:pt x="441" y="359"/>
                </a:lnTo>
                <a:lnTo>
                  <a:pt x="438" y="355"/>
                </a:lnTo>
                <a:lnTo>
                  <a:pt x="438" y="355"/>
                </a:lnTo>
                <a:close/>
                <a:moveTo>
                  <a:pt x="420" y="402"/>
                </a:moveTo>
                <a:lnTo>
                  <a:pt x="420" y="402"/>
                </a:lnTo>
                <a:lnTo>
                  <a:pt x="428" y="396"/>
                </a:lnTo>
                <a:lnTo>
                  <a:pt x="433" y="396"/>
                </a:lnTo>
                <a:lnTo>
                  <a:pt x="433" y="418"/>
                </a:lnTo>
                <a:lnTo>
                  <a:pt x="427" y="418"/>
                </a:lnTo>
                <a:lnTo>
                  <a:pt x="427" y="407"/>
                </a:lnTo>
                <a:cubicBezTo>
                  <a:pt x="427" y="405"/>
                  <a:pt x="427" y="404"/>
                  <a:pt x="427" y="403"/>
                </a:cubicBezTo>
                <a:cubicBezTo>
                  <a:pt x="427" y="403"/>
                  <a:pt x="426" y="404"/>
                  <a:pt x="426" y="404"/>
                </a:cubicBezTo>
                <a:lnTo>
                  <a:pt x="423" y="406"/>
                </a:lnTo>
                <a:lnTo>
                  <a:pt x="420" y="402"/>
                </a:lnTo>
                <a:lnTo>
                  <a:pt x="420" y="402"/>
                </a:lnTo>
                <a:close/>
                <a:moveTo>
                  <a:pt x="418" y="313"/>
                </a:moveTo>
                <a:lnTo>
                  <a:pt x="418" y="313"/>
                </a:lnTo>
                <a:cubicBezTo>
                  <a:pt x="418" y="317"/>
                  <a:pt x="417" y="319"/>
                  <a:pt x="416" y="321"/>
                </a:cubicBezTo>
                <a:cubicBezTo>
                  <a:pt x="414" y="323"/>
                  <a:pt x="412" y="324"/>
                  <a:pt x="410" y="324"/>
                </a:cubicBezTo>
                <a:cubicBezTo>
                  <a:pt x="407" y="324"/>
                  <a:pt x="405" y="323"/>
                  <a:pt x="404" y="321"/>
                </a:cubicBezTo>
                <a:cubicBezTo>
                  <a:pt x="402" y="319"/>
                  <a:pt x="402" y="316"/>
                  <a:pt x="402" y="313"/>
                </a:cubicBezTo>
                <a:cubicBezTo>
                  <a:pt x="402" y="309"/>
                  <a:pt x="402" y="306"/>
                  <a:pt x="404" y="304"/>
                </a:cubicBezTo>
                <a:cubicBezTo>
                  <a:pt x="405" y="302"/>
                  <a:pt x="407" y="301"/>
                  <a:pt x="410" y="301"/>
                </a:cubicBezTo>
                <a:cubicBezTo>
                  <a:pt x="412" y="301"/>
                  <a:pt x="414" y="302"/>
                  <a:pt x="416" y="304"/>
                </a:cubicBezTo>
                <a:cubicBezTo>
                  <a:pt x="417" y="306"/>
                  <a:pt x="418" y="309"/>
                  <a:pt x="418" y="313"/>
                </a:cubicBezTo>
                <a:close/>
                <a:moveTo>
                  <a:pt x="409" y="355"/>
                </a:moveTo>
                <a:lnTo>
                  <a:pt x="409" y="355"/>
                </a:lnTo>
                <a:cubicBezTo>
                  <a:pt x="409" y="356"/>
                  <a:pt x="408" y="356"/>
                  <a:pt x="408" y="357"/>
                </a:cubicBezTo>
                <a:lnTo>
                  <a:pt x="405" y="359"/>
                </a:lnTo>
                <a:lnTo>
                  <a:pt x="402" y="355"/>
                </a:lnTo>
                <a:lnTo>
                  <a:pt x="410" y="349"/>
                </a:lnTo>
                <a:lnTo>
                  <a:pt x="415" y="349"/>
                </a:lnTo>
                <a:lnTo>
                  <a:pt x="415" y="371"/>
                </a:lnTo>
                <a:lnTo>
                  <a:pt x="409" y="371"/>
                </a:lnTo>
                <a:lnTo>
                  <a:pt x="409" y="359"/>
                </a:lnTo>
                <a:cubicBezTo>
                  <a:pt x="409" y="358"/>
                  <a:pt x="409" y="357"/>
                  <a:pt x="409" y="355"/>
                </a:cubicBezTo>
                <a:close/>
                <a:moveTo>
                  <a:pt x="418" y="407"/>
                </a:moveTo>
                <a:lnTo>
                  <a:pt x="418" y="407"/>
                </a:lnTo>
                <a:cubicBezTo>
                  <a:pt x="418" y="411"/>
                  <a:pt x="417" y="414"/>
                  <a:pt x="416" y="416"/>
                </a:cubicBezTo>
                <a:cubicBezTo>
                  <a:pt x="414" y="418"/>
                  <a:pt x="412" y="419"/>
                  <a:pt x="410" y="419"/>
                </a:cubicBezTo>
                <a:cubicBezTo>
                  <a:pt x="407" y="419"/>
                  <a:pt x="405" y="418"/>
                  <a:pt x="404" y="416"/>
                </a:cubicBezTo>
                <a:cubicBezTo>
                  <a:pt x="402" y="414"/>
                  <a:pt x="402" y="411"/>
                  <a:pt x="402" y="407"/>
                </a:cubicBezTo>
                <a:cubicBezTo>
                  <a:pt x="402" y="403"/>
                  <a:pt x="402" y="401"/>
                  <a:pt x="404" y="399"/>
                </a:cubicBezTo>
                <a:cubicBezTo>
                  <a:pt x="405" y="397"/>
                  <a:pt x="407" y="396"/>
                  <a:pt x="410" y="396"/>
                </a:cubicBezTo>
                <a:cubicBezTo>
                  <a:pt x="412" y="396"/>
                  <a:pt x="414" y="397"/>
                  <a:pt x="416" y="399"/>
                </a:cubicBezTo>
                <a:cubicBezTo>
                  <a:pt x="417" y="401"/>
                  <a:pt x="418" y="404"/>
                  <a:pt x="418" y="407"/>
                </a:cubicBezTo>
                <a:close/>
                <a:moveTo>
                  <a:pt x="433" y="324"/>
                </a:moveTo>
                <a:lnTo>
                  <a:pt x="433" y="324"/>
                </a:lnTo>
                <a:lnTo>
                  <a:pt x="427" y="324"/>
                </a:lnTo>
                <a:lnTo>
                  <a:pt x="427" y="312"/>
                </a:lnTo>
                <a:cubicBezTo>
                  <a:pt x="427" y="311"/>
                  <a:pt x="427" y="309"/>
                  <a:pt x="427" y="308"/>
                </a:cubicBezTo>
                <a:cubicBezTo>
                  <a:pt x="427" y="309"/>
                  <a:pt x="426" y="309"/>
                  <a:pt x="426" y="310"/>
                </a:cubicBezTo>
                <a:lnTo>
                  <a:pt x="423" y="312"/>
                </a:lnTo>
                <a:lnTo>
                  <a:pt x="420" y="308"/>
                </a:lnTo>
                <a:lnTo>
                  <a:pt x="428" y="302"/>
                </a:lnTo>
                <a:lnTo>
                  <a:pt x="433" y="302"/>
                </a:lnTo>
                <a:lnTo>
                  <a:pt x="433" y="324"/>
                </a:lnTo>
                <a:lnTo>
                  <a:pt x="433" y="324"/>
                </a:lnTo>
                <a:close/>
                <a:moveTo>
                  <a:pt x="436" y="360"/>
                </a:moveTo>
                <a:lnTo>
                  <a:pt x="436" y="360"/>
                </a:lnTo>
                <a:cubicBezTo>
                  <a:pt x="436" y="364"/>
                  <a:pt x="435" y="367"/>
                  <a:pt x="434" y="369"/>
                </a:cubicBezTo>
                <a:cubicBezTo>
                  <a:pt x="432" y="370"/>
                  <a:pt x="431" y="371"/>
                  <a:pt x="428" y="371"/>
                </a:cubicBezTo>
                <a:cubicBezTo>
                  <a:pt x="425" y="371"/>
                  <a:pt x="423" y="370"/>
                  <a:pt x="422" y="368"/>
                </a:cubicBezTo>
                <a:cubicBezTo>
                  <a:pt x="421" y="367"/>
                  <a:pt x="420" y="364"/>
                  <a:pt x="420" y="360"/>
                </a:cubicBezTo>
                <a:cubicBezTo>
                  <a:pt x="420" y="356"/>
                  <a:pt x="421" y="353"/>
                  <a:pt x="422" y="351"/>
                </a:cubicBezTo>
                <a:cubicBezTo>
                  <a:pt x="423" y="350"/>
                  <a:pt x="425" y="349"/>
                  <a:pt x="428" y="349"/>
                </a:cubicBezTo>
                <a:cubicBezTo>
                  <a:pt x="430" y="349"/>
                  <a:pt x="432" y="350"/>
                  <a:pt x="434" y="352"/>
                </a:cubicBezTo>
                <a:cubicBezTo>
                  <a:pt x="435" y="353"/>
                  <a:pt x="436" y="356"/>
                  <a:pt x="436" y="360"/>
                </a:cubicBezTo>
                <a:close/>
                <a:moveTo>
                  <a:pt x="454" y="313"/>
                </a:moveTo>
                <a:lnTo>
                  <a:pt x="454" y="313"/>
                </a:lnTo>
                <a:cubicBezTo>
                  <a:pt x="454" y="317"/>
                  <a:pt x="453" y="319"/>
                  <a:pt x="452" y="321"/>
                </a:cubicBezTo>
                <a:cubicBezTo>
                  <a:pt x="451" y="323"/>
                  <a:pt x="449" y="324"/>
                  <a:pt x="446" y="324"/>
                </a:cubicBezTo>
                <a:cubicBezTo>
                  <a:pt x="443" y="324"/>
                  <a:pt x="441" y="323"/>
                  <a:pt x="440" y="321"/>
                </a:cubicBezTo>
                <a:cubicBezTo>
                  <a:pt x="439" y="319"/>
                  <a:pt x="438" y="316"/>
                  <a:pt x="438" y="313"/>
                </a:cubicBezTo>
                <a:cubicBezTo>
                  <a:pt x="438" y="309"/>
                  <a:pt x="439" y="306"/>
                  <a:pt x="440" y="304"/>
                </a:cubicBezTo>
                <a:cubicBezTo>
                  <a:pt x="441" y="302"/>
                  <a:pt x="443" y="301"/>
                  <a:pt x="446" y="301"/>
                </a:cubicBezTo>
                <a:cubicBezTo>
                  <a:pt x="448" y="301"/>
                  <a:pt x="450" y="302"/>
                  <a:pt x="452" y="304"/>
                </a:cubicBezTo>
                <a:cubicBezTo>
                  <a:pt x="453" y="306"/>
                  <a:pt x="454" y="309"/>
                  <a:pt x="454" y="313"/>
                </a:cubicBezTo>
                <a:close/>
                <a:moveTo>
                  <a:pt x="472" y="313"/>
                </a:moveTo>
                <a:lnTo>
                  <a:pt x="472" y="313"/>
                </a:lnTo>
                <a:cubicBezTo>
                  <a:pt x="472" y="317"/>
                  <a:pt x="471" y="319"/>
                  <a:pt x="470" y="321"/>
                </a:cubicBezTo>
                <a:cubicBezTo>
                  <a:pt x="469" y="323"/>
                  <a:pt x="467" y="324"/>
                  <a:pt x="464" y="324"/>
                </a:cubicBezTo>
                <a:cubicBezTo>
                  <a:pt x="461" y="324"/>
                  <a:pt x="459" y="323"/>
                  <a:pt x="458" y="321"/>
                </a:cubicBezTo>
                <a:cubicBezTo>
                  <a:pt x="457" y="319"/>
                  <a:pt x="456" y="316"/>
                  <a:pt x="456" y="313"/>
                </a:cubicBezTo>
                <a:cubicBezTo>
                  <a:pt x="456" y="309"/>
                  <a:pt x="457" y="306"/>
                  <a:pt x="458" y="304"/>
                </a:cubicBezTo>
                <a:cubicBezTo>
                  <a:pt x="459" y="302"/>
                  <a:pt x="461" y="301"/>
                  <a:pt x="464" y="301"/>
                </a:cubicBezTo>
                <a:cubicBezTo>
                  <a:pt x="467" y="301"/>
                  <a:pt x="469" y="302"/>
                  <a:pt x="470" y="304"/>
                </a:cubicBezTo>
                <a:cubicBezTo>
                  <a:pt x="471" y="306"/>
                  <a:pt x="472" y="309"/>
                  <a:pt x="472" y="313"/>
                </a:cubicBezTo>
                <a:close/>
                <a:moveTo>
                  <a:pt x="472" y="360"/>
                </a:moveTo>
                <a:lnTo>
                  <a:pt x="472" y="360"/>
                </a:lnTo>
                <a:cubicBezTo>
                  <a:pt x="472" y="364"/>
                  <a:pt x="471" y="367"/>
                  <a:pt x="470" y="369"/>
                </a:cubicBezTo>
                <a:cubicBezTo>
                  <a:pt x="469" y="370"/>
                  <a:pt x="467" y="371"/>
                  <a:pt x="464" y="371"/>
                </a:cubicBezTo>
                <a:cubicBezTo>
                  <a:pt x="461" y="371"/>
                  <a:pt x="459" y="370"/>
                  <a:pt x="458" y="368"/>
                </a:cubicBezTo>
                <a:cubicBezTo>
                  <a:pt x="457" y="367"/>
                  <a:pt x="456" y="364"/>
                  <a:pt x="456" y="360"/>
                </a:cubicBezTo>
                <a:cubicBezTo>
                  <a:pt x="456" y="356"/>
                  <a:pt x="457" y="353"/>
                  <a:pt x="458" y="351"/>
                </a:cubicBezTo>
                <a:cubicBezTo>
                  <a:pt x="459" y="350"/>
                  <a:pt x="461" y="349"/>
                  <a:pt x="464" y="349"/>
                </a:cubicBezTo>
                <a:cubicBezTo>
                  <a:pt x="467" y="349"/>
                  <a:pt x="469" y="350"/>
                  <a:pt x="470" y="352"/>
                </a:cubicBezTo>
                <a:cubicBezTo>
                  <a:pt x="471" y="353"/>
                  <a:pt x="472" y="356"/>
                  <a:pt x="472" y="360"/>
                </a:cubicBezTo>
                <a:close/>
                <a:moveTo>
                  <a:pt x="487" y="324"/>
                </a:moveTo>
                <a:lnTo>
                  <a:pt x="487" y="324"/>
                </a:lnTo>
                <a:lnTo>
                  <a:pt x="481" y="324"/>
                </a:lnTo>
                <a:lnTo>
                  <a:pt x="481" y="312"/>
                </a:lnTo>
                <a:cubicBezTo>
                  <a:pt x="481" y="311"/>
                  <a:pt x="481" y="309"/>
                  <a:pt x="481" y="308"/>
                </a:cubicBezTo>
                <a:cubicBezTo>
                  <a:pt x="481" y="309"/>
                  <a:pt x="480" y="309"/>
                  <a:pt x="480" y="310"/>
                </a:cubicBezTo>
                <a:lnTo>
                  <a:pt x="477" y="312"/>
                </a:lnTo>
                <a:lnTo>
                  <a:pt x="474" y="308"/>
                </a:lnTo>
                <a:lnTo>
                  <a:pt x="482" y="302"/>
                </a:lnTo>
                <a:lnTo>
                  <a:pt x="487" y="302"/>
                </a:lnTo>
                <a:lnTo>
                  <a:pt x="487" y="324"/>
                </a:lnTo>
                <a:lnTo>
                  <a:pt x="487" y="324"/>
                </a:lnTo>
                <a:close/>
                <a:moveTo>
                  <a:pt x="490" y="360"/>
                </a:moveTo>
                <a:lnTo>
                  <a:pt x="490" y="360"/>
                </a:lnTo>
                <a:cubicBezTo>
                  <a:pt x="490" y="364"/>
                  <a:pt x="489" y="367"/>
                  <a:pt x="488" y="369"/>
                </a:cubicBezTo>
                <a:cubicBezTo>
                  <a:pt x="487" y="370"/>
                  <a:pt x="485" y="371"/>
                  <a:pt x="482" y="371"/>
                </a:cubicBezTo>
                <a:cubicBezTo>
                  <a:pt x="479" y="371"/>
                  <a:pt x="477" y="370"/>
                  <a:pt x="476" y="368"/>
                </a:cubicBezTo>
                <a:cubicBezTo>
                  <a:pt x="475" y="367"/>
                  <a:pt x="474" y="364"/>
                  <a:pt x="474" y="360"/>
                </a:cubicBezTo>
                <a:cubicBezTo>
                  <a:pt x="474" y="356"/>
                  <a:pt x="475" y="353"/>
                  <a:pt x="476" y="351"/>
                </a:cubicBezTo>
                <a:cubicBezTo>
                  <a:pt x="477" y="350"/>
                  <a:pt x="479" y="349"/>
                  <a:pt x="482" y="349"/>
                </a:cubicBezTo>
                <a:cubicBezTo>
                  <a:pt x="485" y="349"/>
                  <a:pt x="487" y="350"/>
                  <a:pt x="488" y="352"/>
                </a:cubicBezTo>
                <a:cubicBezTo>
                  <a:pt x="489" y="353"/>
                  <a:pt x="490" y="356"/>
                  <a:pt x="490" y="360"/>
                </a:cubicBezTo>
                <a:close/>
                <a:moveTo>
                  <a:pt x="490" y="407"/>
                </a:moveTo>
                <a:lnTo>
                  <a:pt x="490" y="407"/>
                </a:lnTo>
                <a:cubicBezTo>
                  <a:pt x="490" y="411"/>
                  <a:pt x="489" y="414"/>
                  <a:pt x="488" y="416"/>
                </a:cubicBezTo>
                <a:cubicBezTo>
                  <a:pt x="487" y="418"/>
                  <a:pt x="485" y="419"/>
                  <a:pt x="482" y="419"/>
                </a:cubicBezTo>
                <a:cubicBezTo>
                  <a:pt x="479" y="419"/>
                  <a:pt x="477" y="418"/>
                  <a:pt x="476" y="416"/>
                </a:cubicBezTo>
                <a:cubicBezTo>
                  <a:pt x="475" y="414"/>
                  <a:pt x="474" y="411"/>
                  <a:pt x="474" y="407"/>
                </a:cubicBezTo>
                <a:cubicBezTo>
                  <a:pt x="474" y="403"/>
                  <a:pt x="475" y="401"/>
                  <a:pt x="476" y="399"/>
                </a:cubicBezTo>
                <a:cubicBezTo>
                  <a:pt x="477" y="397"/>
                  <a:pt x="479" y="396"/>
                  <a:pt x="482" y="396"/>
                </a:cubicBezTo>
                <a:cubicBezTo>
                  <a:pt x="485" y="396"/>
                  <a:pt x="487" y="397"/>
                  <a:pt x="488" y="399"/>
                </a:cubicBezTo>
                <a:cubicBezTo>
                  <a:pt x="489" y="401"/>
                  <a:pt x="490" y="404"/>
                  <a:pt x="490" y="407"/>
                </a:cubicBezTo>
                <a:close/>
                <a:moveTo>
                  <a:pt x="505" y="324"/>
                </a:moveTo>
                <a:lnTo>
                  <a:pt x="505" y="324"/>
                </a:lnTo>
                <a:lnTo>
                  <a:pt x="499" y="324"/>
                </a:lnTo>
                <a:lnTo>
                  <a:pt x="499" y="312"/>
                </a:lnTo>
                <a:cubicBezTo>
                  <a:pt x="499" y="311"/>
                  <a:pt x="499" y="309"/>
                  <a:pt x="499" y="308"/>
                </a:cubicBezTo>
                <a:cubicBezTo>
                  <a:pt x="499" y="309"/>
                  <a:pt x="498" y="309"/>
                  <a:pt x="498" y="310"/>
                </a:cubicBezTo>
                <a:lnTo>
                  <a:pt x="495" y="312"/>
                </a:lnTo>
                <a:lnTo>
                  <a:pt x="492" y="308"/>
                </a:lnTo>
                <a:lnTo>
                  <a:pt x="500" y="302"/>
                </a:lnTo>
                <a:lnTo>
                  <a:pt x="505" y="302"/>
                </a:lnTo>
                <a:lnTo>
                  <a:pt x="505" y="324"/>
                </a:lnTo>
                <a:lnTo>
                  <a:pt x="505" y="324"/>
                </a:lnTo>
                <a:close/>
                <a:moveTo>
                  <a:pt x="505" y="371"/>
                </a:moveTo>
                <a:lnTo>
                  <a:pt x="505" y="371"/>
                </a:lnTo>
                <a:lnTo>
                  <a:pt x="499" y="371"/>
                </a:lnTo>
                <a:lnTo>
                  <a:pt x="499" y="359"/>
                </a:lnTo>
                <a:cubicBezTo>
                  <a:pt x="499" y="358"/>
                  <a:pt x="499" y="357"/>
                  <a:pt x="499" y="355"/>
                </a:cubicBezTo>
                <a:cubicBezTo>
                  <a:pt x="499" y="356"/>
                  <a:pt x="498" y="356"/>
                  <a:pt x="498" y="357"/>
                </a:cubicBezTo>
                <a:lnTo>
                  <a:pt x="495" y="359"/>
                </a:lnTo>
                <a:lnTo>
                  <a:pt x="492" y="355"/>
                </a:lnTo>
                <a:lnTo>
                  <a:pt x="500" y="349"/>
                </a:lnTo>
                <a:lnTo>
                  <a:pt x="505" y="349"/>
                </a:lnTo>
                <a:lnTo>
                  <a:pt x="505" y="371"/>
                </a:lnTo>
                <a:lnTo>
                  <a:pt x="505" y="371"/>
                </a:lnTo>
                <a:close/>
                <a:moveTo>
                  <a:pt x="512" y="351"/>
                </a:moveTo>
                <a:lnTo>
                  <a:pt x="512" y="351"/>
                </a:lnTo>
                <a:cubicBezTo>
                  <a:pt x="513" y="350"/>
                  <a:pt x="515" y="349"/>
                  <a:pt x="518" y="349"/>
                </a:cubicBezTo>
                <a:cubicBezTo>
                  <a:pt x="521" y="349"/>
                  <a:pt x="523" y="350"/>
                  <a:pt x="524" y="352"/>
                </a:cubicBezTo>
                <a:cubicBezTo>
                  <a:pt x="525" y="353"/>
                  <a:pt x="526" y="356"/>
                  <a:pt x="526" y="360"/>
                </a:cubicBezTo>
                <a:cubicBezTo>
                  <a:pt x="526" y="364"/>
                  <a:pt x="525" y="367"/>
                  <a:pt x="524" y="369"/>
                </a:cubicBezTo>
                <a:cubicBezTo>
                  <a:pt x="523" y="370"/>
                  <a:pt x="521" y="371"/>
                  <a:pt x="518" y="371"/>
                </a:cubicBezTo>
                <a:cubicBezTo>
                  <a:pt x="515" y="371"/>
                  <a:pt x="514" y="370"/>
                  <a:pt x="512" y="368"/>
                </a:cubicBezTo>
                <a:cubicBezTo>
                  <a:pt x="511" y="367"/>
                  <a:pt x="510" y="364"/>
                  <a:pt x="510" y="360"/>
                </a:cubicBezTo>
                <a:cubicBezTo>
                  <a:pt x="510" y="356"/>
                  <a:pt x="511" y="353"/>
                  <a:pt x="512" y="351"/>
                </a:cubicBezTo>
                <a:close/>
                <a:moveTo>
                  <a:pt x="518" y="353"/>
                </a:moveTo>
                <a:lnTo>
                  <a:pt x="518" y="353"/>
                </a:lnTo>
                <a:cubicBezTo>
                  <a:pt x="517" y="353"/>
                  <a:pt x="517" y="354"/>
                  <a:pt x="517" y="355"/>
                </a:cubicBezTo>
                <a:cubicBezTo>
                  <a:pt x="516" y="356"/>
                  <a:pt x="516" y="358"/>
                  <a:pt x="516" y="360"/>
                </a:cubicBezTo>
                <a:cubicBezTo>
                  <a:pt x="516" y="363"/>
                  <a:pt x="516" y="364"/>
                  <a:pt x="517" y="365"/>
                </a:cubicBezTo>
                <a:cubicBezTo>
                  <a:pt x="517" y="366"/>
                  <a:pt x="517" y="367"/>
                  <a:pt x="518" y="367"/>
                </a:cubicBezTo>
                <a:cubicBezTo>
                  <a:pt x="519" y="367"/>
                  <a:pt x="519" y="366"/>
                  <a:pt x="520" y="365"/>
                </a:cubicBezTo>
                <a:cubicBezTo>
                  <a:pt x="520" y="364"/>
                  <a:pt x="520" y="362"/>
                  <a:pt x="520" y="360"/>
                </a:cubicBezTo>
                <a:cubicBezTo>
                  <a:pt x="520" y="358"/>
                  <a:pt x="520" y="356"/>
                  <a:pt x="520" y="355"/>
                </a:cubicBezTo>
                <a:cubicBezTo>
                  <a:pt x="519" y="354"/>
                  <a:pt x="519" y="353"/>
                  <a:pt x="518" y="353"/>
                </a:cubicBezTo>
                <a:close/>
                <a:moveTo>
                  <a:pt x="484" y="412"/>
                </a:moveTo>
                <a:lnTo>
                  <a:pt x="484" y="412"/>
                </a:lnTo>
                <a:cubicBezTo>
                  <a:pt x="484" y="411"/>
                  <a:pt x="484" y="410"/>
                  <a:pt x="484" y="407"/>
                </a:cubicBezTo>
                <a:cubicBezTo>
                  <a:pt x="484" y="405"/>
                  <a:pt x="484" y="403"/>
                  <a:pt x="484" y="402"/>
                </a:cubicBezTo>
                <a:cubicBezTo>
                  <a:pt x="483" y="401"/>
                  <a:pt x="483" y="401"/>
                  <a:pt x="482" y="401"/>
                </a:cubicBezTo>
                <a:cubicBezTo>
                  <a:pt x="481" y="401"/>
                  <a:pt x="481" y="401"/>
                  <a:pt x="480" y="402"/>
                </a:cubicBezTo>
                <a:cubicBezTo>
                  <a:pt x="480" y="403"/>
                  <a:pt x="480" y="405"/>
                  <a:pt x="480" y="407"/>
                </a:cubicBezTo>
                <a:cubicBezTo>
                  <a:pt x="480" y="410"/>
                  <a:pt x="480" y="412"/>
                  <a:pt x="480" y="412"/>
                </a:cubicBezTo>
                <a:cubicBezTo>
                  <a:pt x="481" y="413"/>
                  <a:pt x="481" y="414"/>
                  <a:pt x="482" y="414"/>
                </a:cubicBezTo>
                <a:cubicBezTo>
                  <a:pt x="483" y="414"/>
                  <a:pt x="483" y="413"/>
                  <a:pt x="484" y="412"/>
                </a:cubicBezTo>
                <a:close/>
                <a:moveTo>
                  <a:pt x="484" y="365"/>
                </a:moveTo>
                <a:lnTo>
                  <a:pt x="484" y="365"/>
                </a:lnTo>
                <a:cubicBezTo>
                  <a:pt x="484" y="364"/>
                  <a:pt x="484" y="362"/>
                  <a:pt x="484" y="360"/>
                </a:cubicBezTo>
                <a:cubicBezTo>
                  <a:pt x="484" y="358"/>
                  <a:pt x="484" y="356"/>
                  <a:pt x="484" y="355"/>
                </a:cubicBezTo>
                <a:cubicBezTo>
                  <a:pt x="483" y="354"/>
                  <a:pt x="483" y="353"/>
                  <a:pt x="482" y="353"/>
                </a:cubicBezTo>
                <a:cubicBezTo>
                  <a:pt x="481" y="353"/>
                  <a:pt x="481" y="354"/>
                  <a:pt x="480" y="355"/>
                </a:cubicBezTo>
                <a:cubicBezTo>
                  <a:pt x="480" y="356"/>
                  <a:pt x="480" y="358"/>
                  <a:pt x="480" y="360"/>
                </a:cubicBezTo>
                <a:cubicBezTo>
                  <a:pt x="480" y="363"/>
                  <a:pt x="480" y="364"/>
                  <a:pt x="480" y="365"/>
                </a:cubicBezTo>
                <a:cubicBezTo>
                  <a:pt x="481" y="366"/>
                  <a:pt x="481" y="367"/>
                  <a:pt x="482" y="367"/>
                </a:cubicBezTo>
                <a:cubicBezTo>
                  <a:pt x="483" y="367"/>
                  <a:pt x="483" y="366"/>
                  <a:pt x="484" y="365"/>
                </a:cubicBezTo>
                <a:close/>
                <a:moveTo>
                  <a:pt x="466" y="365"/>
                </a:moveTo>
                <a:lnTo>
                  <a:pt x="466" y="365"/>
                </a:lnTo>
                <a:cubicBezTo>
                  <a:pt x="466" y="364"/>
                  <a:pt x="466" y="362"/>
                  <a:pt x="466" y="360"/>
                </a:cubicBezTo>
                <a:cubicBezTo>
                  <a:pt x="466" y="358"/>
                  <a:pt x="466" y="356"/>
                  <a:pt x="466" y="355"/>
                </a:cubicBezTo>
                <a:cubicBezTo>
                  <a:pt x="465" y="354"/>
                  <a:pt x="465" y="353"/>
                  <a:pt x="464" y="353"/>
                </a:cubicBezTo>
                <a:cubicBezTo>
                  <a:pt x="463" y="353"/>
                  <a:pt x="463" y="354"/>
                  <a:pt x="462" y="355"/>
                </a:cubicBezTo>
                <a:cubicBezTo>
                  <a:pt x="462" y="356"/>
                  <a:pt x="462" y="358"/>
                  <a:pt x="462" y="360"/>
                </a:cubicBezTo>
                <a:cubicBezTo>
                  <a:pt x="462" y="363"/>
                  <a:pt x="462" y="364"/>
                  <a:pt x="462" y="365"/>
                </a:cubicBezTo>
                <a:cubicBezTo>
                  <a:pt x="463" y="366"/>
                  <a:pt x="463" y="367"/>
                  <a:pt x="464" y="367"/>
                </a:cubicBezTo>
                <a:cubicBezTo>
                  <a:pt x="465" y="367"/>
                  <a:pt x="465" y="366"/>
                  <a:pt x="466" y="365"/>
                </a:cubicBezTo>
                <a:close/>
                <a:moveTo>
                  <a:pt x="466" y="318"/>
                </a:moveTo>
                <a:lnTo>
                  <a:pt x="466" y="318"/>
                </a:lnTo>
                <a:cubicBezTo>
                  <a:pt x="466" y="317"/>
                  <a:pt x="466" y="315"/>
                  <a:pt x="466" y="313"/>
                </a:cubicBezTo>
                <a:cubicBezTo>
                  <a:pt x="466" y="310"/>
                  <a:pt x="466" y="309"/>
                  <a:pt x="466" y="308"/>
                </a:cubicBezTo>
                <a:cubicBezTo>
                  <a:pt x="465" y="307"/>
                  <a:pt x="465" y="306"/>
                  <a:pt x="464" y="306"/>
                </a:cubicBezTo>
                <a:cubicBezTo>
                  <a:pt x="463" y="306"/>
                  <a:pt x="463" y="307"/>
                  <a:pt x="462" y="308"/>
                </a:cubicBezTo>
                <a:cubicBezTo>
                  <a:pt x="462" y="308"/>
                  <a:pt x="462" y="310"/>
                  <a:pt x="462" y="313"/>
                </a:cubicBezTo>
                <a:cubicBezTo>
                  <a:pt x="462" y="315"/>
                  <a:pt x="462" y="317"/>
                  <a:pt x="462" y="318"/>
                </a:cubicBezTo>
                <a:cubicBezTo>
                  <a:pt x="463" y="319"/>
                  <a:pt x="463" y="319"/>
                  <a:pt x="464" y="319"/>
                </a:cubicBezTo>
                <a:cubicBezTo>
                  <a:pt x="465" y="319"/>
                  <a:pt x="465" y="319"/>
                  <a:pt x="466" y="318"/>
                </a:cubicBezTo>
                <a:close/>
                <a:moveTo>
                  <a:pt x="447" y="318"/>
                </a:moveTo>
                <a:lnTo>
                  <a:pt x="447" y="318"/>
                </a:lnTo>
                <a:cubicBezTo>
                  <a:pt x="448" y="317"/>
                  <a:pt x="448" y="315"/>
                  <a:pt x="448" y="313"/>
                </a:cubicBezTo>
                <a:cubicBezTo>
                  <a:pt x="448" y="310"/>
                  <a:pt x="448" y="309"/>
                  <a:pt x="447" y="308"/>
                </a:cubicBezTo>
                <a:cubicBezTo>
                  <a:pt x="447" y="307"/>
                  <a:pt x="447" y="306"/>
                  <a:pt x="446" y="306"/>
                </a:cubicBezTo>
                <a:cubicBezTo>
                  <a:pt x="445" y="306"/>
                  <a:pt x="445" y="307"/>
                  <a:pt x="444" y="308"/>
                </a:cubicBezTo>
                <a:cubicBezTo>
                  <a:pt x="444" y="308"/>
                  <a:pt x="444" y="310"/>
                  <a:pt x="444" y="313"/>
                </a:cubicBezTo>
                <a:cubicBezTo>
                  <a:pt x="444" y="315"/>
                  <a:pt x="444" y="317"/>
                  <a:pt x="444" y="318"/>
                </a:cubicBezTo>
                <a:cubicBezTo>
                  <a:pt x="445" y="319"/>
                  <a:pt x="445" y="319"/>
                  <a:pt x="446" y="319"/>
                </a:cubicBezTo>
                <a:cubicBezTo>
                  <a:pt x="447" y="319"/>
                  <a:pt x="447" y="319"/>
                  <a:pt x="447" y="318"/>
                </a:cubicBezTo>
                <a:close/>
                <a:moveTo>
                  <a:pt x="429" y="365"/>
                </a:moveTo>
                <a:lnTo>
                  <a:pt x="429" y="365"/>
                </a:lnTo>
                <a:cubicBezTo>
                  <a:pt x="430" y="364"/>
                  <a:pt x="430" y="362"/>
                  <a:pt x="430" y="360"/>
                </a:cubicBezTo>
                <a:cubicBezTo>
                  <a:pt x="430" y="358"/>
                  <a:pt x="430" y="356"/>
                  <a:pt x="429" y="355"/>
                </a:cubicBezTo>
                <a:cubicBezTo>
                  <a:pt x="429" y="354"/>
                  <a:pt x="429" y="353"/>
                  <a:pt x="428" y="353"/>
                </a:cubicBezTo>
                <a:cubicBezTo>
                  <a:pt x="427" y="353"/>
                  <a:pt x="427" y="354"/>
                  <a:pt x="426" y="355"/>
                </a:cubicBezTo>
                <a:cubicBezTo>
                  <a:pt x="426" y="356"/>
                  <a:pt x="426" y="358"/>
                  <a:pt x="426" y="360"/>
                </a:cubicBezTo>
                <a:cubicBezTo>
                  <a:pt x="426" y="363"/>
                  <a:pt x="426" y="364"/>
                  <a:pt x="426" y="365"/>
                </a:cubicBezTo>
                <a:cubicBezTo>
                  <a:pt x="427" y="366"/>
                  <a:pt x="427" y="367"/>
                  <a:pt x="428" y="367"/>
                </a:cubicBezTo>
                <a:cubicBezTo>
                  <a:pt x="429" y="367"/>
                  <a:pt x="429" y="366"/>
                  <a:pt x="429" y="365"/>
                </a:cubicBezTo>
                <a:close/>
                <a:moveTo>
                  <a:pt x="411" y="412"/>
                </a:moveTo>
                <a:lnTo>
                  <a:pt x="411" y="412"/>
                </a:lnTo>
                <a:cubicBezTo>
                  <a:pt x="412" y="411"/>
                  <a:pt x="412" y="410"/>
                  <a:pt x="412" y="407"/>
                </a:cubicBezTo>
                <a:cubicBezTo>
                  <a:pt x="412" y="405"/>
                  <a:pt x="412" y="403"/>
                  <a:pt x="411" y="402"/>
                </a:cubicBezTo>
                <a:cubicBezTo>
                  <a:pt x="411" y="401"/>
                  <a:pt x="410" y="401"/>
                  <a:pt x="410" y="401"/>
                </a:cubicBezTo>
                <a:cubicBezTo>
                  <a:pt x="409" y="401"/>
                  <a:pt x="409" y="401"/>
                  <a:pt x="408" y="402"/>
                </a:cubicBezTo>
                <a:cubicBezTo>
                  <a:pt x="408" y="403"/>
                  <a:pt x="408" y="405"/>
                  <a:pt x="408" y="407"/>
                </a:cubicBezTo>
                <a:cubicBezTo>
                  <a:pt x="408" y="410"/>
                  <a:pt x="408" y="412"/>
                  <a:pt x="408" y="412"/>
                </a:cubicBezTo>
                <a:cubicBezTo>
                  <a:pt x="409" y="413"/>
                  <a:pt x="409" y="414"/>
                  <a:pt x="410" y="414"/>
                </a:cubicBezTo>
                <a:cubicBezTo>
                  <a:pt x="410" y="414"/>
                  <a:pt x="411" y="413"/>
                  <a:pt x="411" y="412"/>
                </a:cubicBezTo>
                <a:close/>
                <a:moveTo>
                  <a:pt x="411" y="318"/>
                </a:moveTo>
                <a:lnTo>
                  <a:pt x="411" y="318"/>
                </a:lnTo>
                <a:cubicBezTo>
                  <a:pt x="412" y="317"/>
                  <a:pt x="412" y="315"/>
                  <a:pt x="412" y="313"/>
                </a:cubicBezTo>
                <a:cubicBezTo>
                  <a:pt x="412" y="310"/>
                  <a:pt x="412" y="309"/>
                  <a:pt x="411" y="308"/>
                </a:cubicBezTo>
                <a:cubicBezTo>
                  <a:pt x="411" y="307"/>
                  <a:pt x="410" y="306"/>
                  <a:pt x="410" y="306"/>
                </a:cubicBezTo>
                <a:cubicBezTo>
                  <a:pt x="409" y="306"/>
                  <a:pt x="409" y="307"/>
                  <a:pt x="408" y="308"/>
                </a:cubicBezTo>
                <a:cubicBezTo>
                  <a:pt x="408" y="308"/>
                  <a:pt x="408" y="310"/>
                  <a:pt x="408" y="313"/>
                </a:cubicBezTo>
                <a:cubicBezTo>
                  <a:pt x="408" y="315"/>
                  <a:pt x="408" y="317"/>
                  <a:pt x="408" y="318"/>
                </a:cubicBezTo>
                <a:cubicBezTo>
                  <a:pt x="409" y="319"/>
                  <a:pt x="409" y="319"/>
                  <a:pt x="410" y="319"/>
                </a:cubicBezTo>
                <a:cubicBezTo>
                  <a:pt x="410" y="319"/>
                  <a:pt x="411" y="319"/>
                  <a:pt x="411" y="318"/>
                </a:cubicBezTo>
                <a:close/>
                <a:moveTo>
                  <a:pt x="393" y="365"/>
                </a:moveTo>
                <a:lnTo>
                  <a:pt x="393" y="365"/>
                </a:lnTo>
                <a:cubicBezTo>
                  <a:pt x="394" y="364"/>
                  <a:pt x="394" y="362"/>
                  <a:pt x="394" y="360"/>
                </a:cubicBezTo>
                <a:cubicBezTo>
                  <a:pt x="394" y="358"/>
                  <a:pt x="394" y="356"/>
                  <a:pt x="393" y="355"/>
                </a:cubicBezTo>
                <a:cubicBezTo>
                  <a:pt x="393" y="354"/>
                  <a:pt x="392" y="353"/>
                  <a:pt x="392" y="353"/>
                </a:cubicBezTo>
                <a:cubicBezTo>
                  <a:pt x="391" y="353"/>
                  <a:pt x="390" y="354"/>
                  <a:pt x="390" y="355"/>
                </a:cubicBezTo>
                <a:cubicBezTo>
                  <a:pt x="390" y="356"/>
                  <a:pt x="390" y="358"/>
                  <a:pt x="390" y="360"/>
                </a:cubicBezTo>
                <a:cubicBezTo>
                  <a:pt x="390" y="363"/>
                  <a:pt x="390" y="364"/>
                  <a:pt x="390" y="365"/>
                </a:cubicBezTo>
                <a:cubicBezTo>
                  <a:pt x="390" y="366"/>
                  <a:pt x="391" y="367"/>
                  <a:pt x="392" y="367"/>
                </a:cubicBezTo>
                <a:cubicBezTo>
                  <a:pt x="392" y="367"/>
                  <a:pt x="393" y="366"/>
                  <a:pt x="393" y="36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GB" sz="1359" dirty="0"/>
          </a:p>
        </p:txBody>
      </p:sp>
      <p:sp>
        <p:nvSpPr>
          <p:cNvPr id="46" name="Freeform 373"/>
          <p:cNvSpPr>
            <a:spLocks noChangeAspect="1" noEditPoints="1"/>
          </p:cNvSpPr>
          <p:nvPr/>
        </p:nvSpPr>
        <p:spPr bwMode="auto">
          <a:xfrm>
            <a:off x="8938461" y="3057006"/>
            <a:ext cx="972000" cy="972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256 h 512"/>
              <a:gd name="T12" fmla="*/ 362 w 512"/>
              <a:gd name="T13" fmla="*/ 245 h 512"/>
              <a:gd name="T14" fmla="*/ 373 w 512"/>
              <a:gd name="T15" fmla="*/ 256 h 512"/>
              <a:gd name="T16" fmla="*/ 373 w 512"/>
              <a:gd name="T17" fmla="*/ 320 h 512"/>
              <a:gd name="T18" fmla="*/ 362 w 512"/>
              <a:gd name="T19" fmla="*/ 330 h 512"/>
              <a:gd name="T20" fmla="*/ 352 w 512"/>
              <a:gd name="T21" fmla="*/ 320 h 512"/>
              <a:gd name="T22" fmla="*/ 352 w 512"/>
              <a:gd name="T23" fmla="*/ 256 h 512"/>
              <a:gd name="T24" fmla="*/ 309 w 512"/>
              <a:gd name="T25" fmla="*/ 170 h 512"/>
              <a:gd name="T26" fmla="*/ 320 w 512"/>
              <a:gd name="T27" fmla="*/ 160 h 512"/>
              <a:gd name="T28" fmla="*/ 330 w 512"/>
              <a:gd name="T29" fmla="*/ 170 h 512"/>
              <a:gd name="T30" fmla="*/ 330 w 512"/>
              <a:gd name="T31" fmla="*/ 320 h 512"/>
              <a:gd name="T32" fmla="*/ 320 w 512"/>
              <a:gd name="T33" fmla="*/ 330 h 512"/>
              <a:gd name="T34" fmla="*/ 309 w 512"/>
              <a:gd name="T35" fmla="*/ 320 h 512"/>
              <a:gd name="T36" fmla="*/ 309 w 512"/>
              <a:gd name="T37" fmla="*/ 170 h 512"/>
              <a:gd name="T38" fmla="*/ 266 w 512"/>
              <a:gd name="T39" fmla="*/ 202 h 512"/>
              <a:gd name="T40" fmla="*/ 277 w 512"/>
              <a:gd name="T41" fmla="*/ 192 h 512"/>
              <a:gd name="T42" fmla="*/ 288 w 512"/>
              <a:gd name="T43" fmla="*/ 202 h 512"/>
              <a:gd name="T44" fmla="*/ 288 w 512"/>
              <a:gd name="T45" fmla="*/ 320 h 512"/>
              <a:gd name="T46" fmla="*/ 277 w 512"/>
              <a:gd name="T47" fmla="*/ 330 h 512"/>
              <a:gd name="T48" fmla="*/ 266 w 512"/>
              <a:gd name="T49" fmla="*/ 320 h 512"/>
              <a:gd name="T50" fmla="*/ 266 w 512"/>
              <a:gd name="T51" fmla="*/ 202 h 512"/>
              <a:gd name="T52" fmla="*/ 224 w 512"/>
              <a:gd name="T53" fmla="*/ 149 h 512"/>
              <a:gd name="T54" fmla="*/ 234 w 512"/>
              <a:gd name="T55" fmla="*/ 138 h 512"/>
              <a:gd name="T56" fmla="*/ 245 w 512"/>
              <a:gd name="T57" fmla="*/ 149 h 512"/>
              <a:gd name="T58" fmla="*/ 245 w 512"/>
              <a:gd name="T59" fmla="*/ 320 h 512"/>
              <a:gd name="T60" fmla="*/ 234 w 512"/>
              <a:gd name="T61" fmla="*/ 330 h 512"/>
              <a:gd name="T62" fmla="*/ 224 w 512"/>
              <a:gd name="T63" fmla="*/ 320 h 512"/>
              <a:gd name="T64" fmla="*/ 224 w 512"/>
              <a:gd name="T65" fmla="*/ 149 h 512"/>
              <a:gd name="T66" fmla="*/ 181 w 512"/>
              <a:gd name="T67" fmla="*/ 245 h 512"/>
              <a:gd name="T68" fmla="*/ 192 w 512"/>
              <a:gd name="T69" fmla="*/ 234 h 512"/>
              <a:gd name="T70" fmla="*/ 202 w 512"/>
              <a:gd name="T71" fmla="*/ 245 h 512"/>
              <a:gd name="T72" fmla="*/ 202 w 512"/>
              <a:gd name="T73" fmla="*/ 320 h 512"/>
              <a:gd name="T74" fmla="*/ 192 w 512"/>
              <a:gd name="T75" fmla="*/ 330 h 512"/>
              <a:gd name="T76" fmla="*/ 181 w 512"/>
              <a:gd name="T77" fmla="*/ 320 h 512"/>
              <a:gd name="T78" fmla="*/ 181 w 512"/>
              <a:gd name="T79" fmla="*/ 245 h 512"/>
              <a:gd name="T80" fmla="*/ 138 w 512"/>
              <a:gd name="T81" fmla="*/ 277 h 512"/>
              <a:gd name="T82" fmla="*/ 149 w 512"/>
              <a:gd name="T83" fmla="*/ 266 h 512"/>
              <a:gd name="T84" fmla="*/ 160 w 512"/>
              <a:gd name="T85" fmla="*/ 277 h 512"/>
              <a:gd name="T86" fmla="*/ 160 w 512"/>
              <a:gd name="T87" fmla="*/ 320 h 512"/>
              <a:gd name="T88" fmla="*/ 149 w 512"/>
              <a:gd name="T89" fmla="*/ 330 h 512"/>
              <a:gd name="T90" fmla="*/ 138 w 512"/>
              <a:gd name="T91" fmla="*/ 320 h 512"/>
              <a:gd name="T92" fmla="*/ 138 w 512"/>
              <a:gd name="T93" fmla="*/ 277 h 512"/>
              <a:gd name="T94" fmla="*/ 405 w 512"/>
              <a:gd name="T95" fmla="*/ 373 h 512"/>
              <a:gd name="T96" fmla="*/ 106 w 512"/>
              <a:gd name="T97" fmla="*/ 373 h 512"/>
              <a:gd name="T98" fmla="*/ 96 w 512"/>
              <a:gd name="T99" fmla="*/ 362 h 512"/>
              <a:gd name="T100" fmla="*/ 96 w 512"/>
              <a:gd name="T101" fmla="*/ 149 h 512"/>
              <a:gd name="T102" fmla="*/ 106 w 512"/>
              <a:gd name="T103" fmla="*/ 138 h 512"/>
              <a:gd name="T104" fmla="*/ 117 w 512"/>
              <a:gd name="T105" fmla="*/ 149 h 512"/>
              <a:gd name="T106" fmla="*/ 117 w 512"/>
              <a:gd name="T107" fmla="*/ 352 h 512"/>
              <a:gd name="T108" fmla="*/ 405 w 512"/>
              <a:gd name="T109" fmla="*/ 352 h 512"/>
              <a:gd name="T110" fmla="*/ 416 w 512"/>
              <a:gd name="T111" fmla="*/ 362 h 512"/>
              <a:gd name="T112" fmla="*/ 405 w 512"/>
              <a:gd name="T11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56"/>
                </a:moveTo>
                <a:cubicBezTo>
                  <a:pt x="352" y="250"/>
                  <a:pt x="356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lnTo>
                  <a:pt x="352" y="256"/>
                </a:lnTo>
                <a:close/>
                <a:moveTo>
                  <a:pt x="309" y="170"/>
                </a:moveTo>
                <a:cubicBezTo>
                  <a:pt x="309" y="164"/>
                  <a:pt x="314" y="160"/>
                  <a:pt x="320" y="160"/>
                </a:cubicBezTo>
                <a:cubicBezTo>
                  <a:pt x="326" y="160"/>
                  <a:pt x="330" y="164"/>
                  <a:pt x="330" y="170"/>
                </a:cubicBezTo>
                <a:cubicBezTo>
                  <a:pt x="330" y="320"/>
                  <a:pt x="330" y="320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lnTo>
                  <a:pt x="309" y="170"/>
                </a:lnTo>
                <a:close/>
                <a:moveTo>
                  <a:pt x="266" y="202"/>
                </a:moveTo>
                <a:cubicBezTo>
                  <a:pt x="266" y="196"/>
                  <a:pt x="271" y="192"/>
                  <a:pt x="277" y="192"/>
                </a:cubicBezTo>
                <a:cubicBezTo>
                  <a:pt x="283" y="192"/>
                  <a:pt x="288" y="196"/>
                  <a:pt x="288" y="202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71" y="330"/>
                  <a:pt x="266" y="326"/>
                  <a:pt x="266" y="320"/>
                </a:cubicBezTo>
                <a:lnTo>
                  <a:pt x="266" y="202"/>
                </a:lnTo>
                <a:close/>
                <a:moveTo>
                  <a:pt x="224" y="149"/>
                </a:moveTo>
                <a:cubicBezTo>
                  <a:pt x="224" y="143"/>
                  <a:pt x="228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26"/>
                  <a:pt x="240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lnTo>
                  <a:pt x="224" y="149"/>
                </a:lnTo>
                <a:close/>
                <a:moveTo>
                  <a:pt x="181" y="245"/>
                </a:moveTo>
                <a:cubicBezTo>
                  <a:pt x="181" y="239"/>
                  <a:pt x="186" y="234"/>
                  <a:pt x="192" y="234"/>
                </a:cubicBezTo>
                <a:cubicBezTo>
                  <a:pt x="198" y="234"/>
                  <a:pt x="202" y="239"/>
                  <a:pt x="202" y="245"/>
                </a:cubicBezTo>
                <a:cubicBezTo>
                  <a:pt x="202" y="320"/>
                  <a:pt x="202" y="320"/>
                  <a:pt x="202" y="320"/>
                </a:cubicBezTo>
                <a:cubicBezTo>
                  <a:pt x="202" y="326"/>
                  <a:pt x="198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lnTo>
                  <a:pt x="181" y="245"/>
                </a:lnTo>
                <a:close/>
                <a:moveTo>
                  <a:pt x="138" y="277"/>
                </a:moveTo>
                <a:cubicBezTo>
                  <a:pt x="138" y="271"/>
                  <a:pt x="143" y="266"/>
                  <a:pt x="149" y="266"/>
                </a:cubicBezTo>
                <a:cubicBezTo>
                  <a:pt x="155" y="266"/>
                  <a:pt x="160" y="271"/>
                  <a:pt x="160" y="277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lnTo>
                  <a:pt x="138" y="277"/>
                </a:ln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GB" sz="1359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354043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48099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3637102"/>
</p:tagLst>
</file>

<file path=ppt/theme/theme1.xml><?xml version="1.0" encoding="utf-8"?>
<a:theme xmlns:a="http://schemas.openxmlformats.org/drawingml/2006/main" name="2 Slides">
  <a:themeElements>
    <a:clrScheme name="Custom 3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DC63F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R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</a:spPr>
      <a:bodyPr vert="horz" lIns="36000" tIns="36000" rIns="36000" bIns="36000" rtlCol="0" anchor="ctr">
        <a:noAutofit/>
      </a:bodyPr>
      <a:lstStyle>
        <a:defPPr algn="ctr">
          <a:spcAft>
            <a:spcPts val="600"/>
          </a:spcAft>
          <a:buSzPct val="100000"/>
          <a:buFont typeface="Arial" panose="020B0604020202020204" pitchFamily="34" charset="0"/>
          <a:buNone/>
          <a:defRPr sz="1300" dirty="0" err="1" smtClean="0">
            <a:latin typeface="+mj-lt"/>
            <a:cs typeface="Calibri Light" panose="020F0302020204030204" pitchFamily="34" charset="0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spAutoFit/>
      </a:bodyPr>
      <a:lstStyle>
        <a:defPPr>
          <a:defRPr dirty="0" err="1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RT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 Black widescreen CONS RUS.potx" id="{B3E01C2A-7542-4E82-9940-5CA499CC87A5}" vid="{84EE36DA-E8DC-4B7C-B793-8CC2C705EE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3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4.xml"/></Relationships>
</file>

<file path=customXml/_rels/item3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5.xml"/></Relationships>
</file>

<file path=customXml/_rels/item3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6.xml"/></Relationships>
</file>

<file path=customXml/_rels/item3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7.xml"/></Relationships>
</file>

<file path=customXml/_rels/item3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8.xml"/></Relationships>
</file>

<file path=customXml/_rels/item3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0.xml"/></Relationships>
</file>

<file path=customXml/_rels/item4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1.xml"/></Relationships>
</file>

<file path=customXml/_rels/item4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2.xml"/></Relationships>
</file>

<file path=customXml/_rels/item4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3.xml"/></Relationships>
</file>

<file path=customXml/_rels/item4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4.xml"/></Relationships>
</file>

<file path=customXml/_rels/item4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5.xml"/></Relationships>
</file>

<file path=customXml/_rels/item4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6.xml"/></Relationships>
</file>

<file path=customXml/_rels/item4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7.xml"/></Relationships>
</file>

<file path=customXml/_rels/item4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8.xml"/></Relationships>
</file>

<file path=customXml/_rels/item4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9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0.xml"/></Relationships>
</file>

<file path=customXml/_rels/item4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1.xml"/></Relationships>
</file>

<file path=customXml/_rels/item4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2.xml"/></Relationships>
</file>

<file path=customXml/_rels/item4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3.xml"/></Relationships>
</file>

<file path=customXml/_rels/item4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4.xml"/></Relationships>
</file>

<file path=customXml/_rels/item4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5.xml"/></Relationships>
</file>

<file path=customXml/_rels/item4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6.xml"/></Relationships>
</file>

<file path=customXml/_rels/item4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7.xml"/></Relationships>
</file>

<file path=customXml/_rels/item4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8.xml"/></Relationships>
</file>

<file path=customXml/_rels/item4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9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0.xml"/></Relationships>
</file>

<file path=customXml/_rels/item4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1.xml"/></Relationships>
</file>

<file path=customXml/_rels/item4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2.xml"/></Relationships>
</file>

<file path=customXml/_rels/item4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3.xml"/></Relationships>
</file>

<file path=customXml/_rels/item4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4.xml"/></Relationships>
</file>

<file path=customXml/_rels/item4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5.xml"/></Relationships>
</file>

<file path=customXml/_rels/item4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6.xml"/></Relationships>
</file>

<file path=customXml/_rels/item4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7.xml"/></Relationships>
</file>

<file path=customXml/_rels/item4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8.xml"/></Relationships>
</file>

<file path=customXml/_rels/item4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9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0.xml"/></Relationships>
</file>

<file path=customXml/_rels/item4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1.xml"/></Relationships>
</file>

<file path=customXml/_rels/item4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2.xml"/></Relationships>
</file>

<file path=customXml/_rels/item4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3.xml"/></Relationships>
</file>

<file path=customXml/_rels/item4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4.xml"/></Relationships>
</file>

<file path=customXml/_rels/item4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5.xml"/></Relationships>
</file>

<file path=customXml/_rels/item4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6.xml"/></Relationships>
</file>

<file path=customXml/_rels/item4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7.xml"/></Relationships>
</file>

<file path=customXml/_rels/item4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8.xml"/></Relationships>
</file>

<file path=customXml/_rels/item4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9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0.xml"/></Relationships>
</file>

<file path=customXml/_rels/item4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1.xml"/></Relationships>
</file>

<file path=customXml/_rels/item4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2.xml"/></Relationships>
</file>

<file path=customXml/_rels/item4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3.xml"/></Relationships>
</file>

<file path=customXml/_rels/item4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4.xml"/></Relationships>
</file>

<file path=customXml/_rels/item4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5.xml"/></Relationships>
</file>

<file path=customXml/_rels/item4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6.xml"/></Relationships>
</file>

<file path=customXml/_rels/item4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7.xml"/></Relationships>
</file>

<file path=customXml/_rels/item4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8.xml"/></Relationships>
</file>

<file path=customXml/_rels/item4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9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0.xml"/></Relationships>
</file>

<file path=customXml/_rels/item4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1.xml"/></Relationships>
</file>

<file path=customXml/_rels/item4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2.xml"/></Relationships>
</file>

<file path=customXml/_rels/item4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3.xml"/></Relationships>
</file>

<file path=customXml/_rels/item4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4.xml"/></Relationships>
</file>

<file path=customXml/_rels/item4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5.xml"/></Relationships>
</file>

<file path=customXml/_rels/item4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6.xml"/></Relationships>
</file>

<file path=customXml/_rels/item4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7.xml"/></Relationships>
</file>

<file path=customXml/_rels/item4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8.xml"/></Relationships>
</file>

<file path=customXml/_rels/item4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9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0.xml"/></Relationships>
</file>

<file path=customXml/_rels/item4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1.xml"/></Relationships>
</file>

<file path=customXml/_rels/item4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2.xml"/></Relationships>
</file>

<file path=customXml/_rels/item4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3.xml"/></Relationships>
</file>

<file path=customXml/_rels/item4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4.xml"/></Relationships>
</file>

<file path=customXml/_rels/item4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5.xml"/></Relationships>
</file>

<file path=customXml/_rels/item4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6.xml"/></Relationships>
</file>

<file path=customXml/_rels/item4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7.xml"/></Relationships>
</file>

<file path=customXml/_rels/item4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8.xml"/></Relationships>
</file>

<file path=customXml/_rels/item4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9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0.xml"/></Relationships>
</file>

<file path=customXml/_rels/item4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1.xml"/></Relationships>
</file>

<file path=customXml/_rels/item4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2.xml"/></Relationships>
</file>

<file path=customXml/_rels/item4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3.xml"/></Relationships>
</file>

<file path=customXml/_rels/item4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4.xml"/></Relationships>
</file>

<file path=customXml/_rels/item4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5.xml"/></Relationships>
</file>

<file path=customXml/_rels/item4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6.xml"/></Relationships>
</file>

<file path=customXml/_rels/item4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7.xml"/></Relationships>
</file>

<file path=customXml/_rels/item4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8.xml"/></Relationships>
</file>

<file path=customXml/_rels/item4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9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0.xml"/></Relationships>
</file>

<file path=customXml/_rels/item4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1.xml"/></Relationships>
</file>

<file path=customXml/_rels/item4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2.xml"/></Relationships>
</file>

<file path=customXml/_rels/item4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3.xml"/></Relationships>
</file>

<file path=customXml/_rels/item4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4.xml"/></Relationships>
</file>

<file path=customXml/_rels/item4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5.xml"/></Relationships>
</file>

<file path=customXml/_rels/item4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6.xml"/></Relationships>
</file>

<file path=customXml/_rels/item4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7.xml"/></Relationships>
</file>

<file path=customXml/_rels/item4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8.xml"/></Relationships>
</file>

<file path=customXml/_rels/item4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9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4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0.xml"/></Relationships>
</file>

<file path=customXml/_rels/item4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1.xml"/></Relationships>
</file>

<file path=customXml/_rels/item4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2.xml"/></Relationships>
</file>

<file path=customXml/_rels/item4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3.xml"/></Relationships>
</file>

<file path=customXml/_rels/item4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4.xml"/></Relationships>
</file>

<file path=customXml/_rels/item4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5.xml"/></Relationships>
</file>

<file path=customXml/_rels/item4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6.xml"/></Relationships>
</file>

<file path=customXml/_rels/item4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7.xml"/></Relationships>
</file>

<file path=customXml/_rels/item4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8.xml"/></Relationships>
</file>

<file path=customXml/_rels/item4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0.xml"/></Relationships>
</file>

<file path=customXml/_rels/item5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1.xml"/></Relationships>
</file>

<file path=customXml/_rels/item5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2.xml"/></Relationships>
</file>

<file path=customXml/_rels/item5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3.xml"/></Relationships>
</file>

<file path=customXml/_rels/item5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4.xml"/></Relationships>
</file>

<file path=customXml/_rels/item5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5.xml"/></Relationships>
</file>

<file path=customXml/_rels/item5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6.xml"/></Relationships>
</file>

<file path=customXml/_rels/item5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7.xml"/></Relationships>
</file>

<file path=customXml/_rels/item5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8.xml"/></Relationships>
</file>

<file path=customXml/_rels/item5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9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0.xml"/></Relationships>
</file>

<file path=customXml/_rels/item5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1.xml"/></Relationships>
</file>

<file path=customXml/_rels/item5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2.xml"/></Relationships>
</file>

<file path=customXml/_rels/item5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3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0.xml><?xml version="1.0" encoding="utf-8"?>
<TemplafySlideFormConfiguration><![CDATA[{"formFields":[],"formDataEntries":[]}]]></TemplafySlideFormConfiguration>
</file>

<file path=customXml/item100.xml><?xml version="1.0" encoding="utf-8"?>
<TemplafySlideFormConfiguration><![CDATA[{"formFields":[],"formDataEntries":[]}]]></TemplafySlideFormConfiguration>
</file>

<file path=customXml/item101.xml><?xml version="1.0" encoding="utf-8"?>
<TemplafySlideFormConfiguration><![CDATA[{"formFields":[],"formDataEntries":[]}]]></TemplafySlideFormConfiguration>
</file>

<file path=customXml/item102.xml><?xml version="1.0" encoding="utf-8"?>
<TemplafySlideFormConfiguration><![CDATA[{"formFields":[],"formDataEntries":[]}]]></TemplafySlideFormConfiguration>
</file>

<file path=customXml/item10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139726","version":"1.3"}]]></TemplafySlideTemplateConfiguration>
</file>

<file path=customXml/item104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105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06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07.xml><?xml version="1.0" encoding="utf-8"?>
<TemplafySlideTemplateConfiguration><![CDATA[{"documentContentValidatorConfiguration":{"enableDocumentContentValidator":false,"documentContentValidatorVersion":0},"elementsMetadata":[],"slideId":"637762067152758589","enableDocumentContentUpdater":true,"version":"1.3"}]]></TemplafySlideTemplateConfiguration>
</file>

<file path=customXml/item108.xml><?xml version="1.0" encoding="utf-8"?>
<TemplafySlideFormConfiguration><![CDATA[{"formFields":[],"formDataEntries":[]}]]></TemplafySlideFormConfiguration>
</file>

<file path=customXml/item109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762067092289245","enableDocumentContentUpdater":true,"version":"1.3"}]]></TemplafySlideTemplateConfiguration>
</file>

<file path=customXml/item110.xml><?xml version="1.0" encoding="utf-8"?>
<TemplafySlideFormConfiguration><![CDATA[{"formFields":[],"formDataEntries":[]}]]></TemplafySlideFormConfiguration>
</file>

<file path=customXml/item111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594872","version":"1.3"}]]></TemplafySlideTemplateConfiguration>
</file>

<file path=customXml/item112.xml><?xml version="1.0" encoding="utf-8"?>
<TemplafySlideFormConfiguration><![CDATA[{"formFields":[],"formDataEntries":[]}]]></TemplafySlideFormConfiguration>
</file>

<file path=customXml/item113.xml><?xml version="1.0" encoding="utf-8"?>
<TemplafySlideTemplateConfiguration><![CDATA[{"documentContentValidatorConfiguration":{"enableDocumentContentValidator":false,"documentContentValidatorVersion":0},"elementsMetadata":[],"slideId":"637762067114633263","enableDocumentContentUpdater":true,"version":"1.3"}]]></TemplafySlideTemplateConfiguration>
</file>

<file path=customXml/item114.xml><?xml version="1.0" encoding="utf-8"?>
<TemplafySlideTemplateConfiguration><![CDATA[{"documentContentValidatorConfiguration":{"enableDocumentContentValidator":false,"documentContentValidatorVersion":0},"elementsMetadata":[],"slideId":"637762067107290476","enableDocumentContentUpdater":true,"version":"1.3"}]]></TemplafySlideTemplateConfiguration>
</file>

<file path=customXml/item115.xml><?xml version="1.0" encoding="utf-8"?>
<TemplafySlideTemplateConfiguration><![CDATA[{"documentContentValidatorConfiguration":{"enableDocumentContentValidator":false,"documentContentValidatorVersion":0},"elementsMetadata":[],"slideId":"637762067158071768","enableDocumentContentUpdater":true,"version":"1.3"}]]></TemplafySlideTemplateConfiguration>
</file>

<file path=customXml/item116.xml><?xml version="1.0" encoding="utf-8"?>
<TemplafySlideFormConfiguration><![CDATA[{"formFields":[],"formDataEntries":[]}]]></TemplafySlideFormConfiguration>
</file>

<file path=customXml/item117.xml><?xml version="1.0" encoding="utf-8"?>
<TemplafySlideFormConfiguration><![CDATA[{"formFields":[],"formDataEntries":[]}]]></TemplafySlideFormConfiguration>
</file>

<file path=customXml/item118.xml><?xml version="1.0" encoding="utf-8"?>
<TemplafySlideFormConfiguration><![CDATA[{"formFields":[],"formDataEntries":[]}]]></TemplafySlideFormConfiguration>
</file>

<file path=customXml/item119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20.xml><?xml version="1.0" encoding="utf-8"?>
<TemplafySlideTemplateConfiguration><![CDATA[{"documentContentValidatorConfiguration":{"enableDocumentContentValidator":false,"documentContentValidatorVersion":0},"elementsMetadata":[],"slideId":"637762067077913965","enableDocumentContentUpdater":true,"version":"1.3"}]]></TemplafySlideTemplateConfiguration>
</file>

<file path=customXml/item121.xml><?xml version="1.0" encoding="utf-8"?>
<TemplafySlideFormConfiguration><![CDATA[{"formFields":[],"formDataEntries":[]}]]></TemplafySlideFormConfiguration>
</file>

<file path=customXml/item122.xml><?xml version="1.0" encoding="utf-8"?>
<TemplafySlideFormConfiguration><![CDATA[{"formFields":[],"formDataEntries":[]}]]></TemplafySlideFormConfiguration>
</file>

<file path=customXml/item123.xml><?xml version="1.0" encoding="utf-8"?>
<TemplafySlideTemplateConfiguration><![CDATA[{"documentContentValidatorConfiguration":{"enableDocumentContentValidator":false,"documentContentValidatorVersion":0},"elementsMetadata":[],"slideId":"637762067135727223","enableDocumentContentUpdater":true,"version":"1.3"}]]></TemplafySlideTemplateConfiguration>
</file>

<file path=customXml/item12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858474","version":"1.3"}]]></TemplafySlideTemplateConfiguration>
</file>

<file path=customXml/item125.xml><?xml version="1.0" encoding="utf-8"?>
<TemplafySlideFormConfiguration><![CDATA[{"formFields":[],"formDataEntries":[]}]]></TemplafySlideFormConfiguration>
</file>

<file path=customXml/item126.xml><?xml version="1.0" encoding="utf-8"?>
<TemplafySlideFormConfiguration><![CDATA[{"formFields":[],"formDataEntries":[]}]]></TemplafySlideFormConfiguration>
</file>

<file path=customXml/item127.xml><?xml version="1.0" encoding="utf-8"?>
<TemplafySlideFormConfiguration><![CDATA[{"formFields":[],"formDataEntries":[]}]]></TemplafySlideFormConfiguration>
</file>

<file path=customXml/item128.xml><?xml version="1.0" encoding="utf-8"?>
<TemplafySlideFormConfiguration><![CDATA[{"formFields":[],"formDataEntries":[]}]]></TemplafySlideFormConfiguration>
</file>

<file path=customXml/item129.xml><?xml version="1.0" encoding="utf-8"?>
<TemplafySlideTemplateConfiguration><![CDATA[{"documentContentValidatorConfiguration":{"enableDocumentContentValidator":false,"documentContentValidatorVersion":0},"elementsMetadata":[],"slideId":"637533952193957289","enableDocumentContentUpdater":true,"version":"1.3"}]]></TemplafySlideTemplateConfiguration>
</file>

<file path=customXml/item13.xml><?xml version="1.0" encoding="utf-8"?>
<TemplafySlideFormConfiguration><![CDATA[{"formFields":[],"formDataEntries":[]}]]></TemplafySlideFormConfiguration>
</file>

<file path=customXml/item130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31.xml><?xml version="1.0" encoding="utf-8"?>
<TemplafySlideTemplateConfiguration><![CDATA[{"documentContentValidatorConfiguration":{"enableDocumentContentValidator":false,"documentContentValidatorVersion":0},"elementsMetadata":[],"slideId":"637533952151300697","enableDocumentContentUpdater":true,"version":"1.3"}]]></TemplafySlideTemplateConfiguration>
</file>

<file path=customXml/item132.xml><?xml version="1.0" encoding="utf-8"?>
<TemplafySlideFormConfiguration><![CDATA[{"formFields":[],"formDataEntries":[]}]]></TemplafySlideFormConfiguration>
</file>

<file path=customXml/item133.xml><?xml version="1.0" encoding="utf-8"?>
<TemplafySlideFormConfiguration><![CDATA[{"formFields":[],"formDataEntries":[]}]]></TemplafySlideFormConfiguration>
</file>

<file path=customXml/item134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35.xml><?xml version="1.0" encoding="utf-8"?>
<TemplafySlideFormConfiguration><![CDATA[{"formFields":[],"formDataEntries":[]}]]></TemplafySlideFormConfiguration>
</file>

<file path=customXml/item136.xml><?xml version="1.0" encoding="utf-8"?>
<TemplafySlideFormConfiguration><![CDATA[{"formFields":[],"formDataEntries":[]}]]></TemplafySlideFormConfiguration>
</file>

<file path=customXml/item137.xml><?xml version="1.0" encoding="utf-8"?>
<TemplafySlideTemplateConfiguration><![CDATA[{"documentContentValidatorConfiguration":{"enableDocumentContentValidator":false,"documentContentValidatorVersion":0},"elementsMetadata":[],"slideId":"637533952108331395","enableDocumentContentUpdater":true,"version":"1.3"}]]></TemplafySlideTemplateConfiguration>
</file>

<file path=customXml/item138.xml><?xml version="1.0" encoding="utf-8"?>
<TemplafySlideFormConfiguration><![CDATA[{"formFields":[],"formDataEntries":[]}]]></TemplafySlideFormConfiguration>
</file>

<file path=customXml/item139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533952175988397","enableDocumentContentUpdater":true,"version":"1.3"}]]></TemplafySlideTemplateConfiguration>
</file>

<file path=customXml/item140.xml><?xml version="1.0" encoding="utf-8"?>
<TemplafySlideTemplateConfiguration><![CDATA[{"documentContentValidatorConfiguration":{"enableDocumentContentValidator":false,"documentContentValidatorVersion":0},"elementsMetadata":[],"slideId":"637671332453144190","enableDocumentContentUpdater":true,"version":"1.3"}]]></TemplafySlideTemplateConfiguration>
</file>

<file path=customXml/item141.xml><?xml version="1.0" encoding="utf-8"?>
<TemplafySlideFormConfiguration><![CDATA[{"formFields":[],"formDataEntries":[]}]]></TemplafySlideFormConfiguration>
</file>

<file path=customXml/item142.xml><?xml version="1.0" encoding="utf-8"?>
<TemplafySlideTemplateConfiguration><![CDATA[{"documentContentValidatorConfiguration":{"enableDocumentContentValidator":false,"documentContentValidatorVersion":0},"elementsMetadata":[],"slideId":"637762067070882550","enableDocumentContentUpdater":true,"version":"1.3"}]]></TemplafySlideTemplateConfiguration>
</file>

<file path=customXml/item143.xml><?xml version="1.0" encoding="utf-8"?>
<TemplafySlideFormConfiguration><![CDATA[{"formFields":[],"formDataEntries":[]}]]></TemplafySlideFormConfiguration>
</file>

<file path=customXml/item144.xml><?xml version="1.0" encoding="utf-8"?>
<TemplafySlideFormConfiguration><![CDATA[{"formFields":[],"formDataEntries":[]}]]></TemplafySlideFormConfiguration>
</file>

<file path=customXml/item145.xml><?xml version="1.0" encoding="utf-8"?>
<TemplafySlideTemplateConfiguration><![CDATA[{"documentContentValidatorConfiguration":{"enableDocumentContentValidator":false,"documentContentValidatorVersion":0},"elementsMetadata":[],"slideId":"637762067125102451","enableDocumentContentUpdater":true,"version":"1.3"}]]></TemplafySlideTemplateConfiguration>
</file>

<file path=customXml/item146.xml><?xml version="1.0" encoding="utf-8"?>
<TemplafySlideFormConfiguration><![CDATA[{"formFields":[],"formDataEntries":[]}]]></TemplafySlideFormConfiguration>
</file>

<file path=customXml/item147.xml><?xml version="1.0" encoding="utf-8"?>
<TemplafySlideTemplateConfiguration><![CDATA[{"documentContentValidatorConfiguration":{"enableDocumentContentValidator":false,"documentContentValidatorVersion":0},"elementsMetadata":[],"slideId":"637533952150363145","enableDocumentContentUpdater":true,"version":"1.3"}]]></TemplafySlideTemplateConfiguration>
</file>

<file path=customXml/item148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49.xml><?xml version="1.0" encoding="utf-8"?>
<TemplafySlideTemplateConfiguration><![CDATA[{"documentContentValidatorConfiguration":{"enableDocumentContentValidator":false,"documentContentValidatorVersion":0},"elementsMetadata":[],"slideId":"637533952088487396","enableDocumentContentUpdater":true,"version":"1.3"}]]></TemplafySlide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533952189894797","enableDocumentContentUpdater":true,"version":"1.3"}]]></TemplafySlideTemplateConfiguration>
</file>

<file path=customXml/item150.xml><?xml version="1.0" encoding="utf-8"?>
<TemplafySlideFormConfiguration><![CDATA[{"formFields":[],"formDataEntries":[]}]]></TemplafySlideFormConfiguration>
</file>

<file path=customXml/item151.xml><?xml version="1.0" encoding="utf-8"?>
<TemplafySlideFormConfiguration><![CDATA[{"formFields":[],"formDataEntries":[]}]]></TemplafySlideFormConfiguration>
</file>

<file path=customXml/item15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5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796289","version":"1.3"}]]></TemplafySlideTemplateConfiguration>
</file>

<file path=customXml/item154.xml><?xml version="1.0" encoding="utf-8"?>
<TemplafySlideFormConfiguration><![CDATA[{"formFields":[],"formDataEntries":[]}]]></TemplafySlideFormConfiguration>
</file>

<file path=customXml/item155.xml><?xml version="1.0" encoding="utf-8"?>
<TemplafySlideTemplateConfiguration><![CDATA[{"documentContentValidatorConfiguration":{"enableDocumentContentValidator":false,"documentContentValidatorVersion":0},"elementsMetadata":[],"slideId":"637533952195676075","enableDocumentContentUpdater":true,"version":"1.3"}]]></TemplafySlideTemplateConfiguration>
</file>

<file path=customXml/item156.xml><?xml version="1.0" encoding="utf-8"?>
<TemplafySlideFormConfiguration><![CDATA[{"formFields":[],"formDataEntries":[]}]]></TemplafySlideFormConfiguration>
</file>

<file path=customXml/item15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6108579","version":"1.3"}]]></TemplafySlideTemplateConfiguration>
</file>

<file path=customXml/item158.xml><?xml version="1.0" encoding="utf-8"?>
<TemplafySlideFormConfiguration><![CDATA[{"formFields":[],"formDataEntries":[]}]]></TemplafySlideFormConfiguration>
</file>

<file path=customXml/item15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6.xml><?xml version="1.0" encoding="utf-8"?>
<TemplafySlideFormConfiguration><![CDATA[{"formFields":[],"formDataEntries":[]}]]></TemplafySlideFormConfiguration>
</file>

<file path=customXml/item160.xml><?xml version="1.0" encoding="utf-8"?>
<TemplafySlideFormConfiguration><![CDATA[{"formFields":[],"formDataEntries":[]}]]></TemplafySlideFormConfiguration>
</file>

<file path=customXml/item161.xml><?xml version="1.0" encoding="utf-8"?>
<TemplafySlideFormConfiguration><![CDATA[{"formFields":[],"formDataEntries":[]}]]></TemplafySlideFormConfiguration>
</file>

<file path=customXml/item162.xml><?xml version="1.0" encoding="utf-8"?>
<TemplafySlideTemplateConfiguration><![CDATA[{"documentContentValidatorConfiguration":{"enableDocumentContentValidator":false,"documentContentValidatorVersion":0},"elementsMetadata":[],"slideId":"637762067126351985","enableDocumentContentUpdater":true,"version":"1.3"}]]></TemplafySlideTemplateConfiguration>
</file>

<file path=customXml/item163.xml><?xml version="1.0" encoding="utf-8"?>
<TemplafySlideTemplateConfiguration><![CDATA[{"documentContentValidatorConfiguration":{"enableDocumentContentValidator":false,"documentContentValidatorVersion":0},"elementsMetadata":[],"slideId":"637533952196301062","enableDocumentContentUpdater":true,"version":"1.3"}]]></TemplafySlideTemplateConfiguration>
</file>

<file path=customXml/item164.xml><?xml version="1.0" encoding="utf-8"?>
<TemplafySlideFormConfiguration><![CDATA[{"formFields":[],"formDataEntries":[]}]]></TemplafySlideFormConfiguration>
</file>

<file path=customXml/item165.xml><?xml version="1.0" encoding="utf-8"?>
<TemplafySlideFormConfiguration><![CDATA[{"formFields":[],"formDataEntries":[]}]]></TemplafySlideFormConfiguration>
</file>

<file path=customXml/item166.xml><?xml version="1.0" encoding="utf-8"?>
<TemplafySlideTemplateConfiguration><![CDATA[{"documentContentValidatorConfiguration":{"enableDocumentContentValidator":false,"documentContentValidatorVersion":0},"elementsMetadata":[],"slideId":"637762067078851599","enableDocumentContentUpdater":true,"version":"1.3"}]]></TemplafySlideTemplateConfiguration>
</file>

<file path=customXml/item167.xml><?xml version="1.0" encoding="utf-8"?>
<TemplafySlideFormConfiguration><![CDATA[{"formFields":[],"formDataEntries":[]}]]></TemplafySlideFormConfiguration>
</file>

<file path=customXml/item168.xml><?xml version="1.0" encoding="utf-8"?>
<TemplafySlideFormConfiguration><![CDATA[{"formFields":[],"formDataEntries":[]}]]></TemplafySlideFormConfiguration>
</file>

<file path=customXml/item169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70.xml><?xml version="1.0" encoding="utf-8"?>
<TemplafySlideFormConfiguration><![CDATA[{"formFields":[],"formDataEntries":[]}]]></TemplafySlideFormConfiguration>
</file>

<file path=customXml/item171.xml><?xml version="1.0" encoding="utf-8"?>
<TemplafySlideTemplateConfiguration><![CDATA[{"documentContentValidatorConfiguration":{"enableDocumentContentValidator":false,"documentContentValidatorVersion":0},"elementsMetadata":[],"slideId":"637533952119269071","enableDocumentContentUpdater":true,"version":"1.3"}]]></TemplafySlideTemplateConfiguration>
</file>

<file path=customXml/item17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73.xml><?xml version="1.0" encoding="utf-8"?>
<TemplafySlideFormConfiguration><![CDATA[{"formFields":[],"formDataEntries":[]}]]></TemplafySlideFormConfiguration>
</file>

<file path=customXml/item174.xml><?xml version="1.0" encoding="utf-8"?>
<TemplafySlideTemplateConfiguration><![CDATA[{"documentContentValidatorConfiguration":{"enableDocumentContentValidator":false,"documentContentValidatorVersion":0},"elementsMetadata":[],"slideId":"637762067081664000","enableDocumentContentUpdater":true,"version":"1.3"}]]></TemplafySlideTemplateConfiguration>
</file>

<file path=customXml/item175.xml><?xml version="1.0" encoding="utf-8"?>
<TemplafySlideFormConfiguration><![CDATA[{"formFields":[],"formDataEntries":[]}]]></TemplafySlideFormConfiguration>
</file>

<file path=customXml/item176.xml><?xml version="1.0" encoding="utf-8"?>
<TemplafySlideFormConfiguration><![CDATA[{"formFields":[],"formDataEntries":[]}]]></TemplafySlideFormConfiguration>
</file>

<file path=customXml/item177.xml><?xml version="1.0" encoding="utf-8"?>
<TemplafySlideFormConfiguration><![CDATA[{"formFields":[],"formDataEntries":[]}]]></TemplafySlideFormConfiguration>
</file>

<file path=customXml/item178.xml><?xml version="1.0" encoding="utf-8"?>
<TemplafySlideFormConfiguration><![CDATA[{"formFields":[],"formDataEntries":[]}]]></TemplafySlideFormConfiguration>
</file>

<file path=customXml/item179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documentContentValidatorConfiguration":{"enableDocumentContentValidator":false,"documentContentValidatorVersion":0},"elementsMetadata":[],"slideId":"637762067104476903","enableDocumentContentUpdater":true,"version":"1.3"}]]></TemplafySlideTemplateConfiguration>
</file>

<file path=customXml/item180.xml><?xml version="1.0" encoding="utf-8"?>
<TemplafySlideTemplateConfiguration><![CDATA[{"documentContentValidatorConfiguration":{"enableDocumentContentValidator":false,"documentContentValidatorVersion":0},"elementsMetadata":[],"slideId":"637762067160258778","enableDocumentContentUpdater":true,"version":"1.3"}]]></TemplafySlideTemplateConfiguration>
</file>

<file path=customXml/item181.xml><?xml version="1.0" encoding="utf-8"?>
<TemplafySlideTemplateConfiguration><![CDATA[{"documentContentValidatorConfiguration":{"enableDocumentContentValidator":false,"documentContentValidatorVersion":0},"elementsMetadata":[],"slideId":"637762067139945950","enableDocumentContentUpdater":true,"version":"1.3"}]]></TemplafySlideTemplateConfiguration>
</file>

<file path=customXml/item182.xml><?xml version="1.0" encoding="utf-8"?>
<TemplafySlideFormConfiguration><![CDATA[{"formFields":[],"formDataEntries":[]}]]></TemplafySlideFormConfiguration>
</file>

<file path=customXml/item183.xml><?xml version="1.0" encoding="utf-8"?>
<TemplafySlideTemplateConfiguration><![CDATA[{"documentContentValidatorConfiguration":{"enableDocumentContentValidator":false,"documentContentValidatorVersion":0},"elementsMetadata":[],"slideId":"637762067116352056","enableDocumentContentUpdater":true,"version":"1.3"}]]></TemplafySlideTemplateConfiguration>
</file>

<file path=customXml/item184.xml><?xml version="1.0" encoding="utf-8"?>
<TemplafySlideTemplateConfiguration><![CDATA[{"documentContentValidatorConfiguration":{"enableDocumentContentValidator":false,"documentContentValidatorVersion":0},"elementsMetadata":[],"slideId":"637533952170363414","enableDocumentContentUpdater":true,"version":"1.3"}]]></TemplafySlideTemplateConfiguration>
</file>

<file path=customXml/item185.xml><?xml version="1.0" encoding="utf-8"?>
<TemplafySlideFormConfiguration><![CDATA[{"formFields":[],"formDataEntries":[]}]]></TemplafySlideFormConfiguration>
</file>

<file path=customXml/item186.xml><?xml version="1.0" encoding="utf-8"?>
<TemplafySlideFormConfiguration><![CDATA[{"formFields":[],"formDataEntries":[]}]]></TemplafySlideFormConfiguration>
</file>

<file path=customXml/item187.xml><?xml version="1.0" encoding="utf-8"?>
<TemplafySlideTemplateConfiguration><![CDATA[{"documentContentValidatorConfiguration":{"enableDocumentContentValidator":false,"documentContentValidatorVersion":0},"elementsMetadata":[],"slideId":"637762067129477050","enableDocumentContentUpdater":true,"version":"1.3"}]]></TemplafySlideTemplateConfiguration>
</file>

<file path=customXml/item188.xml><?xml version="1.0" encoding="utf-8"?>
<TemplafySlideTemplateConfiguration><![CDATA[{"documentContentValidatorConfiguration":{"enableDocumentContentValidator":false,"documentContentValidatorVersion":0},"elementsMetadata":[],"slideId":"637762067132758468","enableDocumentContentUpdater":true,"version":"1.3"}]]></TemplafySlideTemplateConfiguration>
</file>

<file path=customXml/item18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533952173644677","enableDocumentContentUpdater":true,"version":"1.3"}]]></TemplafySlideTemplateConfiguration>
</file>

<file path=customXml/item190.xml><?xml version="1.0" encoding="utf-8"?>
<TemplafySlideFormConfiguration><![CDATA[{"formFields":[],"formDataEntries":[]}]]></TemplafySlideFormConfiguration>
</file>

<file path=customXml/item191.xml><?xml version="1.0" encoding="utf-8"?>
<TemplafySlideTemplateConfiguration><![CDATA[{"documentContentValidatorConfiguration":{"enableDocumentContentValidator":false,"documentContentValidatorVersion":0},"elementsMetadata":[],"slideId":"637533952190988516","enableDocumentContentUpdater":true,"version":"1.3"}]]></TemplafySlideTemplateConfiguration>
</file>

<file path=customXml/item19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9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483495","version":"1.3"}]]></TemplafySlideTemplateConfiguration>
</file>

<file path=customXml/item194.xml><?xml version="1.0" encoding="utf-8"?>
<TemplafySlideFormConfiguration><![CDATA[{"formFields":[],"formDataEntries":[]}]]></TemplafySlideFormConfiguration>
</file>

<file path=customXml/item195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96.xml><?xml version="1.0" encoding="utf-8"?>
<TemplafySlideTemplateConfiguration><![CDATA[{"documentContentValidatorConfiguration":{"enableDocumentContentValidator":false,"documentContentValidatorVersion":0},"elementsMetadata":[],"slideId":"637762067128227047","enableDocumentContentUpdater":true,"version":"1.3"}]]></TemplafySlideTemplateConfiguration>
</file>

<file path=customXml/item197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198.xml><?xml version="1.0" encoding="utf-8"?>
<TemplafySlideFormConfiguration><![CDATA[{"formFields":[],"formDataEntries":[]}]]></TemplafySlideFormConfiguration>
</file>

<file path=customXml/item199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956365","version":"1.3"}]]></TemplafySlideTemplate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533952200832357","enableDocumentContentUpdater":true,"version":"1.3"}]]></TemplafySlideTemplateConfiguration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533952149738158","enableDocumentContentUpdater":true,"version":"1.3"}]]></TemplafySlideTemplateConfiguration>
</file>

<file path=customXml/item200.xml><?xml version="1.0" encoding="utf-8"?>
<TemplafySlideFormConfiguration><![CDATA[{"formFields":[],"formDataEntries":[]}]]></TemplafySlideFormConfiguration>
</file>

<file path=customXml/item201.xml><?xml version="1.0" encoding="utf-8"?>
<TemplafySlideTemplateConfiguration><![CDATA[{"documentContentValidatorConfiguration":{"enableDocumentContentValidator":false,"documentContentValidatorVersion":0},"elementsMetadata":[],"slideId":"637762067090726640","enableDocumentContentUpdater":true,"version":"1.3"}]]></TemplafySlideTemplateConfiguration>
</file>

<file path=customXml/item202.xml><?xml version="1.0" encoding="utf-8"?>
<TemplafySlideTemplateConfiguration><![CDATA[{"documentContentValidatorConfiguration":{"enableDocumentContentValidator":false,"documentContentValidatorVersion":0},"elementsMetadata":[],"slideId":"637762067141352177","enableDocumentContentUpdater":true,"version":"1.3"}]]></TemplafySlideTemplateConfiguration>
</file>

<file path=customXml/item203.xml><?xml version="1.0" encoding="utf-8"?>
<TemplafySlideTemplateConfiguration><![CDATA[{"documentContentValidatorConfiguration":{"enableDocumentContentValidator":false,"documentContentValidatorVersion":0},"elementsMetadata":[],"slideId":"637533952143956845","enableDocumentContentUpdater":true,"version":"1.3"}]]></TemplafySlideTemplateConfiguration>
</file>

<file path=customXml/item204.xml><?xml version="1.0" encoding="utf-8"?>
<TemplafySlideFormConfiguration><![CDATA[{"formFields":[],"formDataEntries":[]}]]></TemplafySlideFormConfiguration>
</file>

<file path=customXml/item205.xml><?xml version="1.0" encoding="utf-8"?>
<TemplafySlideFormConfiguration><![CDATA[{"formFields":[],"formDataEntries":[]}]]></TemplafySlideFormConfiguration>
</file>

<file path=customXml/item206.xml><?xml version="1.0" encoding="utf-8"?>
<TemplafySlideFormConfiguration><![CDATA[{"formFields":[],"formDataEntries":[]}]]></TemplafySlideFormConfiguration>
</file>

<file path=customXml/item207.xml><?xml version="1.0" encoding="utf-8"?>
<TemplafySlideFormConfiguration><![CDATA[{"formFields":[],"formDataEntries":[]}]]></TemplafySlideFormConfiguration>
</file>

<file path=customXml/item208.xml><?xml version="1.0" encoding="utf-8"?>
<TemplafySlideTemplateConfiguration><![CDATA[{"documentContentValidatorConfiguration":{"enableDocumentContentValidator":false,"documentContentValidatorVersion":0},"elementsMetadata":[],"slideId":"637533952112393922","enableDocumentContentUpdater":true,"version":"1.3"}]]></TemplafySlideTemplateConfiguration>
</file>

<file path=customXml/item209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10.xml><?xml version="1.0" encoding="utf-8"?>
<TemplafySlideTemplateConfiguration><![CDATA[{"documentContentValidatorConfiguration":{"enableDocumentContentValidator":false,"documentContentValidatorVersion":0},"elementsMetadata":[],"slideId":"637762067109476884","enableDocumentContentUpdater":true,"version":"1.3"}]]></TemplafySlideTemplateConfiguration>
</file>

<file path=customXml/item211.xml><?xml version="1.0" encoding="utf-8"?>
<TemplafySlideTemplateConfiguration><![CDATA[{"documentContentValidatorConfiguration":{"enableDocumentContentValidator":false,"documentContentValidatorVersion":0},"elementsMetadata":[],"slideId":"637533952147238130","enableDocumentContentUpdater":true,"version":"1.3"}]]></TemplafySlideTemplateConfiguration>
</file>

<file path=customXml/item212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452296","version":"1.3"}]]></TemplafySlideTemplateConfiguration>
</file>

<file path=customXml/item213.xml><?xml version="1.0" encoding="utf-8"?>
<TemplafySlideFormConfiguration><![CDATA[{"formFields":[],"formDataEntries":[]}]]></TemplafySlideFormConfiguration>
</file>

<file path=customXml/item21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608476","version":"1.3"}]]></TemplafySlideTemplateConfiguration>
</file>

<file path=customXml/item215.xml><?xml version="1.0" encoding="utf-8"?>
<TemplafySlideFormConfiguration><![CDATA[{"formFields":[],"formDataEntries":[]}]]></TemplafySlideFormConfiguration>
</file>

<file path=customXml/item216.xml><?xml version="1.0" encoding="utf-8"?>
<TemplafySlideFormConfiguration><![CDATA[{"formFields":[],"formDataEntries":[]}]]></TemplafySlideFormConfiguration>
</file>

<file path=customXml/item217.xml><?xml version="1.0" encoding="utf-8"?>
<TemplafySlideFormConfiguration><![CDATA[{"formFields":[],"formDataEntries":[]}]]></TemplafySlideFormConfiguration>
</file>

<file path=customXml/item218.xml><?xml version="1.0" encoding="utf-8"?>
<TemplafySlideTemplateConfiguration><![CDATA[{"documentContentValidatorConfiguration":{"enableDocumentContentValidator":false,"documentContentValidatorVersion":0},"elementsMetadata":[],"slideId":"637762067070570031","enableDocumentContentUpdater":true,"version":"1.3"}]]></TemplafySlideTemplateConfiguration>
</file>

<file path=customXml/item21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22.xml><?xml version="1.0" encoding="utf-8"?>
<TemplafySlideFormConfiguration><![CDATA[{"formFields":[],"formDataEntries":[]}]]></TemplafySlideFormConfiguration>
</file>

<file path=customXml/item220.xml><?xml version="1.0" encoding="utf-8"?>
<TemplafySlideFormConfiguration><![CDATA[{"formFields":[],"formDataEntries":[]}]]></TemplafySlideFormConfiguration>
</file>

<file path=customXml/item221.xml><?xml version="1.0" encoding="utf-8"?>
<TemplafySlideFormConfiguration><![CDATA[{"formFields":[],"formDataEntries":[]}]]></TemplafySlideFormConfiguration>
</file>

<file path=customXml/item222.xml><?xml version="1.0" encoding="utf-8"?>
<TemplafySlideTemplateConfiguration><![CDATA[{"documentContentValidatorConfiguration":{"enableDocumentContentValidator":false,"documentContentValidatorVersion":0},"elementsMetadata":[],"slideId":"637533952171457132","enableDocumentContentUpdater":true,"version":"1.3"}]]></TemplafySlideTemplateConfiguration>
</file>

<file path=customXml/item2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24.xml><?xml version="1.0" encoding="utf-8"?>
<TemplafySlideFormConfiguration><![CDATA[{"formFields":[],"formDataEntries":[]}]]></TemplafySlideFormConfiguration>
</file>

<file path=customXml/item225.xml><?xml version="1.0" encoding="utf-8"?>
<TemplafySlideTemplateConfiguration><![CDATA[{"documentContentValidatorConfiguration":{"enableDocumentContentValidator":false,"documentContentValidatorVersion":0},"elementsMetadata":[],"slideId":"637762067136977114","enableDocumentContentUpdater":true,"version":"1.3"}]]></TemplafySlideTemplateConfiguration>
</file>

<file path=customXml/item226.xml><?xml version="1.0" encoding="utf-8"?>
<TemplafySlideFormConfiguration><![CDATA[{"formFields":[],"formDataEntries":[]}]]></TemplafySlideFormConfiguration>
</file>

<file path=customXml/item227.xml><?xml version="1.0" encoding="utf-8"?>
<TemplafyFormConfiguration><![CDATA[{"formFields":[],"formDataEntries":[]}]]></TemplafyFormConfiguration>
</file>

<file path=customXml/item228.xml><?xml version="1.0" encoding="utf-8"?>
<TemplafySlideFormConfiguration><![CDATA[{"formFields":[],"formDataEntries":[]}]]></TemplafySlideFormConfiguration>
</file>

<file path=customXml/item22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23.xml><?xml version="1.0" encoding="utf-8"?>
<TemplafySlideFormConfiguration><![CDATA[{"formFields":[],"formDataEntries":[]}]]></TemplafySlideFormConfiguration>
</file>

<file path=customXml/item230.xml><?xml version="1.0" encoding="utf-8"?>
<TemplafySlideTemplateConfiguration><![CDATA[{"documentContentValidatorConfiguration":{"enableDocumentContentValidator":false,"documentContentValidatorVersion":0},"elementsMetadata":[],"slideId":"637533952192394771","enableDocumentContentUpdater":true,"version":"1.3"}]]></TemplafySlideTemplateConfiguration>
</file>

<file path=customXml/item231.xml><?xml version="1.0" encoding="utf-8"?>
<TemplafySlideTemplateConfiguration><![CDATA[{"documentContentValidatorConfiguration":{"enableDocumentContentValidator":false,"documentContentValidatorVersion":0},"elementsMetadata":[],"slideId":"637533952145363082","enableDocumentContentUpdater":true,"version":"1.3"}]]></TemplafySlideTemplateConfiguration>
</file>

<file path=customXml/item232.xml><?xml version="1.0" encoding="utf-8"?>
<TemplafySlideFormConfiguration><![CDATA[{"formFields":[],"formDataEntries":[]}]]></TemplafySlideFormConfiguration>
</file>

<file path=customXml/item233.xml><?xml version="1.0" encoding="utf-8"?>
<TemplafySlideFormConfiguration><![CDATA[{"formFields":[],"formDataEntries":[]}]]></TemplafySlideFormConfiguration>
</file>

<file path=customXml/item234.xml><?xml version="1.0" encoding="utf-8"?>
<TemplafySlideTemplateConfiguration><![CDATA[{"documentContentValidatorConfiguration":{"enableDocumentContentValidator":false,"documentContentValidatorVersion":0},"elementsMetadata":[],"slideId":"637762067130884026","enableDocumentContentUpdater":true,"version":"1.3"}]]></TemplafySlideTemplateConfiguration>
</file>

<file path=customXml/item235.xml><?xml version="1.0" encoding="utf-8"?>
<TemplafySlideFormConfiguration><![CDATA[{"formFields":[],"formDataEntries":[]}]]></TemplafySlideFormConfiguration>
</file>

<file path=customXml/item236.xml><?xml version="1.0" encoding="utf-8"?>
<TemplafySlideTemplateConfiguration><![CDATA[{"documentContentValidatorConfiguration":{"enableDocumentContentValidator":false,"documentContentValidatorVersion":0},"elementsMetadata":[],"slideId":"637762067095101720","enableDocumentContentUpdater":true,"version":"1.3"}]]></TemplafySlideTemplateConfiguration>
</file>

<file path=customXml/item237.xml><?xml version="1.0" encoding="utf-8"?>
<TemplafySlideTemplateConfiguration><![CDATA[{"documentContentValidatorConfiguration":{"enableDocumentContentValidator":false,"documentContentValidatorVersion":0},"elementsMetadata":[],"slideId":"637762067152446087","enableDocumentContentUpdater":true,"version":"1.3"}]]></TemplafySlideTemplateConfiguration>
</file>

<file path=customXml/item238.xml><?xml version="1.0" encoding="utf-8"?>
<TemplafySlideFormConfiguration><![CDATA[{"formFields":[],"formDataEntries":[]}]]></TemplafySlideFormConfiguration>
</file>

<file path=customXml/item239.xml><?xml version="1.0" encoding="utf-8"?>
<TemplafySlideTemplateConfiguration><![CDATA[{"documentContentValidatorConfiguration":{"enableDocumentContentValidator":false,"documentContentValidatorVersion":0},"elementsMetadata":[],"slideId":"637762067124008207","enableDocumentContentUpdater":true,"version":"1.3"}]]></TemplafySlideTemplateConfiguration>
</file>

<file path=customXml/item24.xml><?xml version="1.0" encoding="utf-8"?>
<TemplafySlideFormConfiguration><![CDATA[{"formFields":[],"formDataEntries":[]}]]></TemplafySlideFormConfiguration>
</file>

<file path=customXml/item240.xml><?xml version="1.0" encoding="utf-8"?>
<TemplafySlideFormConfiguration><![CDATA[{"formFields":[],"formDataEntries":[]}]]></TemplafySlideFormConfiguration>
</file>

<file path=customXml/item241.xml><?xml version="1.0" encoding="utf-8"?>
<TemplafySlideFormConfiguration><![CDATA[{"formFields":[],"formDataEntries":[]}]]></TemplafySlideFormConfiguration>
</file>

<file path=customXml/item242.xml><?xml version="1.0" encoding="utf-8"?>
<TemplafySlideTemplateConfiguration><![CDATA[{"documentContentValidatorConfiguration":{"enableDocumentContentValidator":false,"documentContentValidatorVersion":0},"elementsMetadata":[],"slideId":"637762067155414868","enableDocumentContentUpdater":true,"version":"1.3"}]]></TemplafySlideTemplateConfiguration>
</file>

<file path=customXml/item243.xml><?xml version="1.0" encoding="utf-8"?>
<TemplafySlideFormConfiguration><![CDATA[{"formFields":[],"formDataEntries":[]}]]></TemplafySlideFormConfiguration>
</file>

<file path=customXml/item244.xml><?xml version="1.0" encoding="utf-8"?>
<TemplafySlideTemplateConfiguration><![CDATA[{"documentContentValidatorConfiguration":{"enableDocumentContentValidator":false,"documentContentValidatorVersion":0},"elementsMetadata":[],"slideId":"637533952189582261","enableDocumentContentUpdater":true,"version":"1.3"}]]></TemplafySlideTemplateConfiguration>
</file>

<file path=customXml/item245.xml><?xml version="1.0" encoding="utf-8"?>
<TemplafySlideFormConfiguration><![CDATA[{"formFields":[],"formDataEntries":[]}]]></TemplafySlideFormConfiguration>
</file>

<file path=customXml/item246.xml><?xml version="1.0" encoding="utf-8"?>
<TemplafySlideFormConfiguration><![CDATA[{"formFields":[],"formDataEntries":[]}]]></TemplafySlideFormConfiguration>
</file>

<file path=customXml/item247.xml><?xml version="1.0" encoding="utf-8"?>
<TemplafySlideFormConfiguration><![CDATA[{"formFields":[],"formDataEntries":[]}]]></TemplafySlideFormConfiguration>
</file>

<file path=customXml/item248.xml><?xml version="1.0" encoding="utf-8"?>
<TemplafySlideFormConfiguration><![CDATA[{"formFields":[],"formDataEntries":[]}]]></TemplafySlideFormConfiguration>
</file>

<file path=customXml/item249.xml><?xml version="1.0" encoding="utf-8"?>
<TemplafySlideTemplateConfiguration><![CDATA[{"documentContentValidatorConfiguration":{"enableDocumentContentValidator":false,"documentContentValidatorVersion":0},"elementsMetadata":[],"slideId":"637533952089737357","enableDocumentContentUpdater":true,"version":"1.3"}]]></TemplafySlideTemplateConfiguration>
</file>

<file path=customXml/item25.xml><?xml version="1.0" encoding="utf-8"?>
<TemplafySlideTemplateConfiguration><![CDATA[{"documentContentValidatorConfiguration":{"enableDocumentContentValidator":false,"documentContentValidatorVersion":0},"elementsMetadata":[],"slideId":"637762067156664899","enableDocumentContentUpdater":true,"version":"1.3"}]]></TemplafySlideTemplateConfiguration>
</file>

<file path=customXml/item250.xml><?xml version="1.0" encoding="utf-8"?>
<TemplafySlideFormConfiguration><![CDATA[{"formFields":[],"formDataEntries":[]}]]></TemplafySlideFormConfiguration>
</file>

<file path=customXml/item251.xml><?xml version="1.0" encoding="utf-8"?>
<TemplafySlideTemplateConfiguration><![CDATA[{"documentContentValidatorConfiguration":{"enableDocumentContentValidator":false,"documentContentValidatorVersion":0},"elementsMetadata":[],"slideId":"637762067073851475","enableDocumentContentUpdater":true,"version":"1.3"}]]></TemplafySlideTemplateConfiguration>
</file>

<file path=customXml/item252.xml><?xml version="1.0" encoding="utf-8"?>
<TemplafySlideTemplateConfiguration><![CDATA[{"documentContentValidatorConfiguration":{"enableDocumentContentValidator":false,"documentContentValidatorVersion":0},"elementsMetadata":[],"slideId":"637533952093956186","enableDocumentContentUpdater":true,"version":"1.3"}]]></TemplafySlideTemplateConfiguration>
</file>

<file path=customXml/item253.xml><?xml version="1.0" encoding="utf-8"?>
<TemplafySlideFormConfiguration><![CDATA[{"formFields":[],"formDataEntries":[]}]]></TemplafySlideFormConfiguration>
</file>

<file path=customXml/item254.xml><?xml version="1.0" encoding="utf-8"?>
<TemplafySlideTemplateConfiguration><![CDATA[{"documentContentValidatorConfiguration":{"enableDocumentContentValidator":false,"documentContentValidatorVersion":0},"elementsMetadata":[],"slideId":"637533952200519863","enableDocumentContentUpdater":true,"version":"1.3"}]]></TemplafySlideTemplateConfiguration>
</file>

<file path=customXml/item25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8296340","version":"1.3"}]]></TemplafySlideTemplateConfiguration>
</file>

<file path=customXml/item256.xml><?xml version="1.0" encoding="utf-8"?>
<TemplafySlideTemplateConfiguration><![CDATA[{"documentContentValidatorConfiguration":{"enableDocumentContentValidator":false,"documentContentValidatorVersion":0},"elementsMetadata":[],"slideId":"637762067123383212","enableDocumentContentUpdater":true,"version":"1.3"}]]></TemplafySlideTemplateConfiguration>
</file>

<file path=customXml/item257.xml><?xml version="1.0" encoding="utf-8"?>
<TemplafySlideFormConfiguration><![CDATA[{"formFields":[],"formDataEntries":[]}]]></TemplafySlideFormConfiguration>
</file>

<file path=customXml/item258.xml><?xml version="1.0" encoding="utf-8"?>
<TemplafySlideFormConfiguration><![CDATA[{"formFields":[],"formDataEntries":[]}]]></TemplafySlideFormConfiguration>
</file>

<file path=customXml/item259.xml><?xml version="1.0" encoding="utf-8"?>
<TemplafySlideTemplateConfiguration><![CDATA[{"documentContentValidatorConfiguration":{"enableDocumentContentValidator":false,"documentContentValidatorVersion":0},"elementsMetadata":[],"slideId":"637533952149894412","enableDocumentContentUpdater":true,"version":"1.3"}]]></TemplafySlideTemplateConfiguration>
</file>

<file path=customXml/item26.xml><?xml version="1.0" encoding="utf-8"?>
<TemplafySlideFormConfiguration><![CDATA[{"formFields":[],"formDataEntries":[]}]]></TemplafySlideFormConfiguration>
</file>

<file path=customXml/item260.xml><?xml version="1.0" encoding="utf-8"?>
<TemplafySlideTemplateConfiguration><![CDATA[{"documentContentValidatorConfiguration":{"enableDocumentContentValidator":false,"documentContentValidatorVersion":0},"elementsMetadata":[],"slideId":"637533952173488384","enableDocumentContentUpdater":true,"version":"1.3"}]]></TemplafySlideTemplateConfiguration>
</file>

<file path=customXml/item261.xml><?xml version="1.0" encoding="utf-8"?>
<TemplafySlideTemplateConfiguration><![CDATA[{"documentContentValidatorConfiguration":{"enableDocumentContentValidator":false,"documentContentValidatorVersion":0},"elementsMetadata":[],"slideId":"637533952180207168","enableDocumentContentUpdater":true,"version":"1.3"}]]></TemplafySlideTemplateConfiguration>
</file>

<file path=customXml/item262.xml><?xml version="1.0" encoding="utf-8"?>
<TemplafySlideFormConfiguration><![CDATA[{"formFields":[],"formDataEntries":[]}]]></TemplafySlideFormConfiguration>
</file>

<file path=customXml/item263.xml><?xml version="1.0" encoding="utf-8"?>
<TemplafySlideTemplateConfiguration><![CDATA[{"documentContentValidatorConfiguration":{"enableDocumentContentValidator":false,"documentContentValidatorVersion":0},"elementsMetadata":[],"slideId":"637533952084112350","enableDocumentContentUpdater":true,"version":"1.3"}]]></TemplafySlideTemplateConfiguration>
</file>

<file path=customXml/item264.xml><?xml version="1.0" encoding="utf-8"?>
<TemplafySlideTemplateConfiguration><![CDATA[{"documentContentValidatorConfiguration":{"enableDocumentContentValidator":false,"documentContentValidatorVersion":0},"elementsMetadata":[],"slideId":"637533952091768658","enableDocumentContentUpdater":true,"version":"1.3"}]]></TemplafySlideTemplateConfiguration>
</file>

<file path=customXml/item265.xml><?xml version="1.0" encoding="utf-8"?>
<TemplafySlideFormConfiguration><![CDATA[{"formFields":[],"formDataEntries":[]}]]></TemplafySlideFormConfiguration>
</file>

<file path=customXml/item266.xml><?xml version="1.0" encoding="utf-8"?>
<TemplafySlideTemplateConfiguration><![CDATA[{"documentContentValidatorConfiguration":{"enableDocumentContentValidator":false,"documentContentValidatorVersion":0},"elementsMetadata":[],"slideId":"637762067091351672","enableDocumentContentUpdater":true,"version":"1.3"}]]></TemplafySlideTemplateConfiguration>
</file>

<file path=customXml/item267.xml><?xml version="1.0" encoding="utf-8"?>
<TemplafySlideTemplateConfiguration><![CDATA[{"documentContentValidatorConfiguration":{"enableDocumentContentValidator":false,"documentContentValidatorVersion":0},"elementsMetadata":[],"slideId":"637762067159634207","enableDocumentContentUpdater":true,"version":"1.3"}]]></TemplafySlideTemplateConfiguration>
</file>

<file path=customXml/item268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269.xml><?xml version="1.0" encoding="utf-8"?>
<TemplafySlideTemplateConfiguration><![CDATA[{"documentContentValidatorConfiguration":{"enableDocumentContentValidator":false,"documentContentValidatorVersion":0},"elementsMetadata":[],"slideId":"637762067134164683","enableDocumentContentUpdater":true,"version":"1.3"}]]></TemplafySlideTemplateConfiguration>
</file>

<file path=customXml/item27.xml><?xml version="1.0" encoding="utf-8"?>
<TemplafySlideFormConfiguration><![CDATA[{"formFields":[],"formDataEntries":[]}]]></TemplafySlideFormConfiguration>
</file>

<file path=customXml/item270.xml><?xml version="1.0" encoding="utf-8"?>
<TemplafySlideTemplateConfiguration><![CDATA[{"documentContentValidatorConfiguration":{"enableDocumentContentValidator":false,"documentContentValidatorVersion":0},"elementsMetadata":[],"slideId":"637533952201457335","enableDocumentContentUpdater":true,"version":"1.3"}]]></TemplafySlideTemplateConfiguration>
</file>

<file path=customXml/item271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272.xml><?xml version="1.0" encoding="utf-8"?>
<TemplafySlideTemplateConfiguration><![CDATA[{"documentContentValidatorConfiguration":{"enableDocumentContentValidator":false,"documentContentValidatorVersion":0},"elementsMetadata":[],"slideId":"637533952166769627","enableDocumentContentUpdater":true,"version":"1.3"}]]></TemplafySlideTemplateConfiguration>
</file>

<file path=customXml/item273.xml><?xml version="1.0" encoding="utf-8"?>
<TemplafySlideFormConfiguration><![CDATA[{"formFields":[],"formDataEntries":[]}]]></TemplafySlideFormConfiguration>
</file>

<file path=customXml/item274.xml><?xml version="1.0" encoding="utf-8"?>
<TemplafySlideTemplateConfiguration><![CDATA[{"documentContentValidatorConfiguration":{"enableDocumentContentValidator":false,"documentContentValidatorVersion":0},"elementsMetadata":[],"slideId":"637213190305052644","enableDocumentContentUpdater":true,"version":"1.3"}]]></TemplafySlideTemplateConfiguration>
</file>

<file path=customXml/item275.xml><?xml version="1.0" encoding="utf-8"?>
<TemplafySlideFormConfiguration><![CDATA[{"formFields":[],"formDataEntries":[]}]]></TemplafySlideFormConfiguration>
</file>

<file path=customXml/item276.xml><?xml version="1.0" encoding="utf-8"?>
<TemplafySlideTemplateConfiguration><![CDATA[{"documentContentValidatorConfiguration":{"enableDocumentContentValidator":false,"documentContentValidatorVersion":0},"elementsMetadata":[],"slideId":"637762067094633673","enableDocumentContentUpdater":true,"version":"1.3"}]]></TemplafySlideTemplateConfiguration>
</file>

<file path=customXml/item277.xml><?xml version="1.0" encoding="utf-8"?>
<TemplafySlideFormConfiguration><![CDATA[{"formFields":[],"formDataEntries":[]}]]></TemplafySlideFormConfiguration>
</file>

<file path=customXml/item278.xml><?xml version="1.0" encoding="utf-8"?>
<TemplafySlideFormConfiguration><![CDATA[{"formFields":[],"formDataEntries":[]}]]></TemplafySlideFormConfiguration>
</file>

<file path=customXml/item279.xml><?xml version="1.0" encoding="utf-8"?>
<TemplafySlideFormConfiguration><![CDATA[{"formFields":[],"formDataEntries":[]}]]></TemplafySlideFormConfiguration>
</file>

<file path=customXml/item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0.xml><?xml version="1.0" encoding="utf-8"?>
<TemplafySlideFormConfiguration><![CDATA[{"formFields":[],"formDataEntries":[]}]]></TemplafySlideFormConfiguration>
</file>

<file path=customXml/item281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1","version":"1.3"}]]></TemplafySlideTemplateConfiguration>
</file>

<file path=customXml/item282.xml><?xml version="1.0" encoding="utf-8"?>
<TemplafySlideTemplateConfiguration><![CDATA[{"documentContentValidatorConfiguration":{"enableDocumentContentValidator":false,"documentContentValidatorVersion":0},"elementsMetadata":[],"slideId":"637762067115727030","enableDocumentContentUpdater":true,"version":"1.3"}]]></TemplafySlideTemplateConfiguration>
</file>

<file path=customXml/item283.xml><?xml version="1.0" encoding="utf-8"?>
<TemplafySlideFormConfiguration><![CDATA[{"formFields":[],"formDataEntries":[]}]]></TemplafySlideFormConfiguration>
</file>

<file path=customXml/item284.xml><?xml version="1.0" encoding="utf-8"?>
<TemplafySlideFormConfiguration><![CDATA[{"formFields":[],"formDataEntries":[]}]]></TemplafySlideFormConfiguration>
</file>

<file path=customXml/item285.xml><?xml version="1.0" encoding="utf-8"?>
<TemplafySlideTemplateConfiguration><![CDATA[{"documentContentValidatorConfiguration":{"enableDocumentContentValidator":false,"documentContentValidatorVersion":0},"elementsMetadata":[],"slideId":"637533952160363339","enableDocumentContentUpdater":true,"version":"1.3"}]]></TemplafySlideTemplateConfiguration>
</file>

<file path=customXml/item286.xml><?xml version="1.0" encoding="utf-8"?>
<TemplafySlideFormConfiguration><![CDATA[{"formFields":[],"formDataEntries":[]}]]></TemplafySlideFormConfiguration>
</file>

<file path=customXml/item287.xml><?xml version="1.0" encoding="utf-8"?>
<TemplafySlideFormConfiguration><![CDATA[{"formFields":[],"formDataEntries":[]}]]></TemplafySlideFormConfiguration>
</file>

<file path=customXml/item288.xml><?xml version="1.0" encoding="utf-8"?>
<TemplafySlideFormConfiguration><![CDATA[{"formFields":[],"formDataEntries":[]}]]></TemplafySlideFormConfiguration>
</file>

<file path=customXml/item28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29.xml><?xml version="1.0" encoding="utf-8"?>
<TemplafySlideFormConfiguration><![CDATA[{"formFields":[],"formDataEntries":[]}]]></TemplafySlideFormConfiguration>
</file>

<file path=customXml/item290.xml><?xml version="1.0" encoding="utf-8"?>
<TemplafySlideFormConfiguration><![CDATA[{"formFields":[],"formDataEntries":[]}]]></TemplafySlideFormConfiguration>
</file>

<file path=customXml/item291.xml><?xml version="1.0" encoding="utf-8"?>
<TemplafySlideFormConfiguration><![CDATA[{"formFields":[],"formDataEntries":[]}]]></TemplafySlideFormConfiguration>
</file>

<file path=customXml/item292.xml><?xml version="1.0" encoding="utf-8"?>
<TemplafySlideTemplateConfiguration><![CDATA[{"documentContentValidatorConfiguration":{"enableDocumentContentValidator":false,"documentContentValidatorVersion":0},"elementsMetadata":[],"slideId":"637762067150414863","enableDocumentContentUpdater":true,"version":"1.3"}]]></TemplafySlideTemplateConfiguration>
</file>

<file path=customXml/item293.xml><?xml version="1.0" encoding="utf-8"?>
<TemplafySlideFormConfiguration><![CDATA[{"formFields":[],"formDataEntries":[]}]]></TemplafySlideFormConfiguration>
</file>

<file path=customXml/item294.xml><?xml version="1.0" encoding="utf-8"?>
<TemplafySlideTemplateConfiguration><![CDATA[{"documentContentValidatorConfiguration":{"enableDocumentContentValidator":false,"documentContentValidatorVersion":0},"elementsMetadata":[],"slideId":"637533952077706036","enableDocumentContentUpdater":true,"version":"1.3"}]]></TemplafySlideTemplateConfiguration>
</file>

<file path=customXml/item295.xml><?xml version="1.0" encoding="utf-8"?>
<TemplafySlideTemplateConfiguration><![CDATA[{"documentContentValidatorConfiguration":{"enableDocumentContentValidator":false,"documentContentValidatorVersion":0},"elementsMetadata":[],"slideId":"637533952084424837","enableDocumentContentUpdater":true,"version":"1.3"}]]></TemplafySlideTemplateConfiguration>
</file>

<file path=customXml/item296.xml><?xml version="1.0" encoding="utf-8"?>
<TemplafySlideFormConfiguration><![CDATA[{"formFields":[],"formDataEntries":[]}]]></TemplafySlideFormConfiguration>
</file>

<file path=customXml/item297.xml><?xml version="1.0" encoding="utf-8"?>
<TemplafySlideTemplateConfiguration><![CDATA[{"documentContentValidatorConfiguration":{"enableDocumentContentValidator":false,"documentContentValidatorVersion":0},"elementsMetadata":[],"slideId":"637762067097602678","enableDocumentContentUpdater":true,"version":"1.3"}]]></TemplafySlideTemplateConfiguration>
</file>

<file path=customXml/item298.xml><?xml version="1.0" encoding="utf-8"?>
<TemplafySlideFormConfiguration><![CDATA[{"formFields":[],"formDataEntries":[]}]]></TemplafySlideFormConfiguration>
</file>

<file path=customXml/item29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documentContentValidatorConfiguration":{"enableDocumentContentValidator":false,"documentContentValidatorVersion":0},"elementsMetadata":[],"slideId":"637762067139633410","enableDocumentContentUpdater":true,"version":"1.3"}]]></TemplafySlideTemplateConfiguration>
</file>

<file path=customXml/item300.xml><?xml version="1.0" encoding="utf-8"?>
<TemplafySlideFormConfiguration><![CDATA[{"formFields":[],"formDataEntries":[]}]]></TemplafySlideFormConfiguration>
</file>

<file path=customXml/item301.xml><?xml version="1.0" encoding="utf-8"?>
<TemplafySlideFormConfiguration><![CDATA[{"formFields":[],"formDataEntries":[]}]]></TemplafySlideFormConfiguration>
</file>

<file path=customXml/item302.xml><?xml version="1.0" encoding="utf-8"?>
<TemplafySlideFormConfiguration><![CDATA[{"formFields":[],"formDataEntries":[]}]]></TemplafySlideFormConfiguration>
</file>

<file path=customXml/item303.xml><?xml version="1.0" encoding="utf-8"?>
<TemplafySlideFormConfiguration><![CDATA[{"formFields":[],"formDataEntries":[]}]]></TemplafySlideFormConfiguration>
</file>

<file path=customXml/item304.xml><?xml version="1.0" encoding="utf-8"?>
<TemplafySlideFormConfiguration><![CDATA[{"formFields":[],"formDataEntries":[]}]]></TemplafySlideFormConfiguration>
</file>

<file path=customXml/item305.xml><?xml version="1.0" encoding="utf-8"?>
<TemplafySlideTemplateConfiguration><![CDATA[{"documentContentValidatorConfiguration":{"enableDocumentContentValidator":false,"documentContentValidatorVersion":0},"elementsMetadata":[],"slideId":"637762067165258769","enableDocumentContentUpdater":true,"version":"1.3"}]]></TemplafySlideTemplateConfiguration>
</file>

<file path=customXml/item306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307.xml><?xml version="1.0" encoding="utf-8"?>
<TemplafySlideFormConfiguration><![CDATA[{"formFields":[],"formDataEntries":[]}]]></TemplafySlideFormConfiguration>
</file>

<file path=customXml/item308.xml><?xml version="1.0" encoding="utf-8"?>
<TemplafySlideTemplateConfiguration><![CDATA[{"documentContentValidatorConfiguration":{"enableDocumentContentValidator":false,"documentContentValidatorVersion":0},"elementsMetadata":[],"slideId":"637533952202551087","enableDocumentContentUpdater":true,"version":"1.3"}]]></TemplafySlideTemplateConfiguration>
</file>

<file path=customXml/item309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31.xml><?xml version="1.0" encoding="utf-8"?>
<TemplafySlideFormConfiguration><![CDATA[{"formFields":[],"formDataEntries":[]}]]></TemplafySlideFormConfiguration>
</file>

<file path=customXml/item310.xml><?xml version="1.0" encoding="utf-8"?>
<TemplafySlideTemplateConfiguration><![CDATA[{"documentContentValidatorConfiguration":{"enableDocumentContentValidator":false,"documentContentValidatorVersion":0},"elementsMetadata":[],"slideId":"637533952153488223","enableDocumentContentUpdater":true,"version":"1.3"}]]></TemplafySlideTemplateConfiguration>
</file>

<file path=customXml/item311.xml><?xml version="1.0" encoding="utf-8"?>
<TemplafySlideTemplateConfiguration><![CDATA[{"documentContentValidatorConfiguration":{"enableDocumentContentValidator":false,"documentContentValidatorVersion":0},"elementsMetadata":[],"slideId":"637762067088382843","enableDocumentContentUpdater":true,"version":"1.3"}]]></TemplafySlideTemplateConfiguration>
</file>

<file path=customXml/item312.xml><?xml version="1.0" encoding="utf-8"?>
<TemplafySlideFormConfiguration><![CDATA[{"formFields":[],"formDataEntries":[]}]]></TemplafySlideFormConfiguration>
</file>

<file path=customXml/item313.xml><?xml version="1.0" encoding="utf-8"?>
<TemplafySlideTemplateConfiguration><![CDATA[{"documentContentValidatorConfiguration":{"enableDocumentContentValidator":false,"documentContentValidatorVersion":0},"elementsMetadata":[],"slideId":"637533952084268603","enableDocumentContentUpdater":true,"version":"1.3"}]]></TemplafySlideTemplateConfiguration>
</file>

<file path=customXml/item314.xml><?xml version="1.0" encoding="utf-8"?>
<TemplafySlideFormConfiguration><![CDATA[{"formFields":[],"formDataEntries":[]}]]></TemplafySlideFormConfiguration>
</file>

<file path=customXml/item315.xml><?xml version="1.0" encoding="utf-8"?>
<TemplafySlideFormConfiguration><![CDATA[{"formFields":[],"formDataEntries":[]}]]></TemplafySlideFormConfiguration>
</file>

<file path=customXml/item316.xml><?xml version="1.0" encoding="utf-8"?>
<TemplafySlideTemplateConfiguration><![CDATA[{"documentContentValidatorConfiguration":{"enableDocumentContentValidator":false,"documentContentValidatorVersion":0},"elementsMetadata":[],"slideId":"637533952199738567","enableDocumentContentUpdater":true,"version":"1.3"}]]></TemplafySlideTemplateConfiguration>
</file>

<file path=customXml/item317.xml><?xml version="1.0" encoding="utf-8"?>
<TemplafySlideFormConfiguration><![CDATA[{"formFields":[],"formDataEntries":[]}]]></TemplafySlideFormConfiguration>
</file>

<file path=customXml/item318.xml><?xml version="1.0" encoding="utf-8"?>
<TemplafySlideFormConfiguration><![CDATA[{"formFields":[],"formDataEntries":[]}]]></TemplafySlideFormConfiguration>
</file>

<file path=customXml/item319.xml><?xml version="1.0" encoding="utf-8"?>
<TemplafySlideTemplateConfiguration><![CDATA[{"documentContentValidatorConfiguration":{"enableDocumentContentValidator":false,"documentContentValidatorVersion":0},"elementsMetadata":[],"slideId":"637762067147446537","enableDocumentContentUpdater":true,"version":"1.3"}]]></TemplafySlideTemplateConfiguration>
</file>

<file path=customXml/item32.xml><?xml version="1.0" encoding="utf-8"?>
<TemplafySlideFormConfiguration><![CDATA[{"formFields":[],"formDataEntries":[]}]]></TemplafySlideFormConfiguration>
</file>

<file path=customXml/item320.xml><?xml version="1.0" encoding="utf-8"?>
<TemplafySlideFormConfiguration><![CDATA[{"formFields":[],"formDataEntries":[]}]]></TemplafySlideFormConfiguration>
</file>

<file path=customXml/item321.xml><?xml version="1.0" encoding="utf-8"?>
<TemplafySlideFormConfiguration><![CDATA[{"formFields":[],"formDataEntries":[]}]]></TemplafySlideFormConfiguration>
</file>

<file path=customXml/item322.xml><?xml version="1.0" encoding="utf-8"?>
<TemplafySlideTemplateConfiguration><![CDATA[{"documentContentValidatorConfiguration":{"enableDocumentContentValidator":false,"documentContentValidatorVersion":0},"elementsMetadata":[],"slideId":"637533952088643648","enableDocumentContentUpdater":true,"version":"1.3"}]]></TemplafySlideTemplateConfiguration>
</file>

<file path=customXml/item323.xml><?xml version="1.0" encoding="utf-8"?>
<TemplafySlideFormConfiguration><![CDATA[{"formFields":[],"formDataEntries":[]}]]></TemplafySlideFormConfiguration>
</file>

<file path=customXml/item324.xml><?xml version="1.0" encoding="utf-8"?>
<TemplafySlideTemplateConfiguration><![CDATA[{"documentContentValidatorConfiguration":{"enableDocumentContentValidator":false,"documentContentValidatorVersion":0},"elementsMetadata":[],"slideId":"637762067142602194","enableDocumentContentUpdater":true,"version":"1.3"}]]></TemplafySlideTemplateConfiguration>
</file>

<file path=customXml/item325.xml><?xml version="1.0" encoding="utf-8"?>
<TemplafySlideTemplateConfiguration><![CDATA[{"documentContentValidatorConfiguration":{"enableDocumentContentValidator":false,"documentContentValidatorVersion":0},"elementsMetadata":[],"slideId":"637533952148800704","enableDocumentContentUpdater":true,"version":"1.3"}]]></TemplafySlideTemplateConfiguration>
</file>

<file path=customXml/item326.xml><?xml version="1.0" encoding="utf-8"?>
<TemplafySlideFormConfiguration><![CDATA[{"formFields":[],"formDataEntries":[]}]]></TemplafySlideFormConfiguration>
</file>

<file path=customXml/item32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956366","version":"1.3"}]]></TemplafySlideTemplateConfiguration>
</file>

<file path=customXml/item328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329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documentContentValidatorConfiguration":{"enableDocumentContentValidator":false,"documentContentValidatorVersion":0},"elementsMetadata":[],"slideId":"637762067121664471","enableDocumentContentUpdater":true,"version":"1.3"}]]></TemplafySlideTemplateConfiguration>
</file>

<file path=customXml/item330.xml><?xml version="1.0" encoding="utf-8"?>
<TemplafySlideTemplateConfiguration><![CDATA[{"documentContentValidatorConfiguration":{"enableDocumentContentValidator":false,"documentContentValidatorVersion":0},"elementsMetadata":[],"slideId":"637533952196769840","enableDocumentContentUpdater":true,"version":"1.3"}]]></TemplafySlideTemplateConfiguration>
</file>

<file path=customXml/item331.xml><?xml version="1.0" encoding="utf-8"?>
<TemplafySlideTemplateConfiguration><![CDATA[{"documentContentValidatorConfiguration":{"enableDocumentContentValidator":false,"documentContentValidatorVersion":0},"elementsMetadata":[],"slideId":"637671332450331666","enableDocumentContentUpdater":true,"version":"1.3"}]]></TemplafySlideTemplateConfiguration>
</file>

<file path=customXml/item332.xml><?xml version="1.0" encoding="utf-8"?>
<TemplafySlideFormConfiguration><![CDATA[{"formFields":[],"formDataEntries":[]}]]></TemplafySlideFormConfiguration>
</file>

<file path=customXml/item333.xml><?xml version="1.0" encoding="utf-8"?>
<TemplafySlideTemplateConfiguration><![CDATA[{"documentContentValidatorConfiguration":{"enableDocumentContentValidator":false,"documentContentValidatorVersion":0},"elementsMetadata":[],"slideId":"637533952087706144","enableDocumentContentUpdater":true,"version":"1.3"}]]></TemplafySlideTemplateConfiguration>
</file>

<file path=customXml/item334.xml><?xml version="1.0" encoding="utf-8"?>
<TemplafySlideTemplateConfiguration><![CDATA[{"documentContentValidatorConfiguration":{"enableDocumentContentValidator":false,"documentContentValidatorVersion":0},"elementsMetadata":[],"slideId":"637762067136195926","enableDocumentContentUpdater":true,"version":"1.3"}]]></TemplafySlideTemplateConfiguration>
</file>

<file path=customXml/item335.xml><?xml version="1.0" encoding="utf-8"?>
<TemplafySlideFormConfiguration><![CDATA[{"formFields":[],"formDataEntries":[]}]]></TemplafySlideFormConfiguration>
</file>

<file path=customXml/item336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858473","version":"1.3"}]]></TemplafySlideTemplateConfiguration>
</file>

<file path=customXml/item337.xml><?xml version="1.0" encoding="utf-8"?>
<TemplafySlideFormConfiguration><![CDATA[{"formFields":[],"formDataEntries":[]}]]></TemplafySlideFormConfiguration>
</file>

<file path=customXml/item338.xml><?xml version="1.0" encoding="utf-8"?>
<TemplafySlideTemplateConfiguration><![CDATA[{"documentContentValidatorConfiguration":{"enableDocumentContentValidator":false,"documentContentValidatorVersion":0},"elementsMetadata":[],"slideId":"637762067069632546","enableDocumentContentUpdater":true,"version":"1.3"}]]></TemplafySlideTemplateConfiguration>
</file>

<file path=customXml/item339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documentContentValidatorConfiguration":{"enableDocumentContentValidator":false,"documentContentValidatorVersion":0},"elementsMetadata":[],"slideId":"637533952115362735","enableDocumentContentUpdater":true,"version":"1.3"}]]></TemplafySlideTemplateConfiguration>
</file>

<file path=customXml/item340.xml><?xml version="1.0" encoding="utf-8"?>
<TemplafySlideFormConfiguration><![CDATA[{"formFields":[],"formDataEntries":[]}]]></TemplafySlideFormConfiguration>
</file>

<file path=customXml/item341.xml><?xml version="1.0" encoding="utf-8"?>
<TemplafySlideFormConfiguration><![CDATA[{"formFields":[],"formDataEntries":[]}]]></TemplafySlideFormConfiguration>
</file>

<file path=customXml/item342.xml><?xml version="1.0" encoding="utf-8"?>
<TemplafySlideTemplateConfiguration><![CDATA[{"documentContentValidatorConfiguration":{"enableDocumentContentValidator":false,"documentContentValidatorVersion":0},"elementsMetadata":[],"slideId":"637762067129945904","enableDocumentContentUpdater":true,"version":"1.3"}]]></TemplafySlideTemplateConfiguration>
</file>

<file path=customXml/item343.xml><?xml version="1.0" encoding="utf-8"?>
<TemplafySlideTemplateConfiguration><![CDATA[{"documentContentValidatorConfiguration":{"enableDocumentContentValidator":false,"documentContentValidatorVersion":0},"elementsMetadata":[],"slideId":"637533952199894829","enableDocumentContentUpdater":true,"version":"1.3"}]]></TemplafySlideTemplateConfiguration>
</file>

<file path=customXml/item34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077232","version":"1.3"}]]></TemplafySlideTemplateConfiguration>
</file>

<file path=customXml/item345.xml><?xml version="1.0" encoding="utf-8"?>
<TemplafySlideFormConfiguration><![CDATA[{"formFields":[],"formDataEntries":[]}]]></TemplafySlideFormConfiguration>
</file>

<file path=customXml/item346.xml><?xml version="1.0" encoding="utf-8"?>
<TemplafySlideTemplateConfiguration><![CDATA[{"documentContentValidatorConfiguration":{"enableDocumentContentValidator":false,"documentContentValidatorVersion":0},"elementsMetadata":[],"slideId":"637762067108539370","enableDocumentContentUpdater":true,"version":"1.3"}]]></TemplafySlideTemplateConfiguration>
</file>

<file path=customXml/item347.xml><?xml version="1.0" encoding="utf-8"?>
<TemplafySlideTemplateConfiguration><![CDATA[{"documentContentValidatorConfiguration":{"enableDocumentContentValidator":false,"documentContentValidatorVersion":0},"elementsMetadata":[],"slideId":"637762067076976559","enableDocumentContentUpdater":true,"version":"1.3"}]]></TemplafySlideTemplateConfiguration>
</file>

<file path=customXml/item348.xml><?xml version="1.0" encoding="utf-8"?>
<TemplafySlideFormConfiguration><![CDATA[{"formFields":[],"formDataEntries":[]}]]></TemplafySlideFormConfiguration>
</file>

<file path=customXml/item349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documentContentValidatorConfiguration":{"enableDocumentContentValidator":false,"documentContentValidatorVersion":0},"elementsMetadata":[],"slideId":"637533952111612688","enableDocumentContentUpdater":true,"version":"1.3"}]]></TemplafySlideTemplateConfiguration>
</file>

<file path=customXml/item350.xml><?xml version="1.0" encoding="utf-8"?>
<TemplafySlideFormConfiguration><![CDATA[{"formFields":[],"formDataEntries":[]}]]></TemplafySlideFormConfiguration>
</file>

<file path=customXml/item351.xml><?xml version="1.0" encoding="utf-8"?>
<TemplafySlideFormConfiguration><![CDATA[{"formFields":[],"formDataEntries":[]}]]></TemplafySlideFormConfiguration>
</file>

<file path=customXml/item352.xml><?xml version="1.0" encoding="utf-8"?>
<TemplafySlideTemplateConfiguration><![CDATA[{"documentContentValidatorConfiguration":{"enableDocumentContentValidator":false,"documentContentValidatorVersion":0},"elementsMetadata":[],"slideId":"637533952113175181","enableDocumentContentUpdater":true,"version":"1.3"}]]></TemplafySlideTemplateConfiguration>
</file>

<file path=customXml/item35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796288","version":"1.3"}]]></TemplafySlideTemplateConfiguration>
</file>

<file path=customXml/item354.xml><?xml version="1.0" encoding="utf-8"?>
<TemplafySlideFormConfiguration><![CDATA[{"formFields":[],"formDataEntries":[]}]]></TemplafySlideFormConfiguration>
</file>

<file path=customXml/item355.xml><?xml version="1.0" encoding="utf-8"?>
<TemplafySlideFormConfiguration><![CDATA[{"formFields":[],"formDataEntries":[]}]]></TemplafySlideFormConfiguration>
</file>

<file path=customXml/item356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357.xml><?xml version="1.0" encoding="utf-8"?>
<TemplafySlideFormConfiguration><![CDATA[{"formFields":[],"formDataEntries":[]}]]></TemplafySlideFormConfiguration>
</file>

<file path=customXml/item358.xml><?xml version="1.0" encoding="utf-8"?>
<TemplafySlideTemplateConfiguration><![CDATA[{"documentContentValidatorConfiguration":{"enableDocumentContentValidator":false,"documentContentValidatorVersion":0},"elementsMetadata":[],"slideId":"637533952140363079","enableDocumentContentUpdater":true,"version":"1.3"}]]></TemplafySlideTemplateConfiguration>
</file>

<file path=customXml/item359.xml><?xml version="1.0" encoding="utf-8"?>
<TemplafySlideTemplateConfiguration><![CDATA[{"documentContentValidatorConfiguration":{"enableDocumentContentValidator":false,"documentContentValidatorVersion":0},"elementsMetadata":[],"slideId":"637762067115258275","enableDocumentContentUpdater":true,"version":"1.3"}]]></TemplafySlideTemplateConfiguration>
</file>

<file path=customXml/item36.xml><?xml version="1.0" encoding="utf-8"?>
<TemplafySlideFormConfiguration><![CDATA[{"formFields":[],"formDataEntries":[]}]]></TemplafySlideFormConfiguration>
</file>

<file path=customXml/item360.xml><?xml version="1.0" encoding="utf-8"?>
<TemplafySlideTemplateConfiguration><![CDATA[{"documentContentValidatorConfiguration":{"enableDocumentContentValidator":false,"documentContentValidatorVersion":0},"elementsMetadata":[],"slideId":"637762067157602392","enableDocumentContentUpdater":true,"version":"1.3"}]]></TemplafySlideTemplateConfiguration>
</file>

<file path=customXml/item361.xml><?xml version="1.0" encoding="utf-8"?>
<TemplafySlideFormConfiguration><![CDATA[{"formFields":[],"formDataEntries":[]}]]></TemplafySlideFormConfiguration>
</file>

<file path=customXml/item362.xml><?xml version="1.0" encoding="utf-8"?>
<TemplafySlideTemplateConfiguration><![CDATA[{"documentContentValidatorConfiguration":{"enableDocumentContentValidator":false,"documentContentValidatorVersion":0},"elementsMetadata":[],"slideId":"637533952207707407","enableDocumentContentUpdater":true,"version":"1.3"}]]></TemplafySlideTemplateConfiguration>
</file>

<file path=customXml/item363.xml><?xml version="1.0" encoding="utf-8"?>
<TemplafySlideTemplateConfiguration><![CDATA[{"documentContentValidatorConfiguration":{"enableDocumentContentValidator":false,"documentContentValidatorVersion":0},"elementsMetadata":[],"slideId":"637762067156664899","enableDocumentContentUpdater":true,"version":"1.3"}]]></TemplafySlideTemplateConfiguration>
</file>

<file path=customXml/item364.xml><?xml version="1.0" encoding="utf-8"?>
<TemplafySlideFormConfiguration><![CDATA[{"formFields":[],"formDataEntries":[]}]]></TemplafySlideFormConfiguration>
</file>

<file path=customXml/item36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389786","version":"1.3"}]]></TemplafySlideTemplateConfiguration>
</file>

<file path=customXml/item366.xml><?xml version="1.0" encoding="utf-8"?>
<TemplafySlideFormConfiguration><![CDATA[{"formFields":[],"formDataEntries":[]}]]></TemplafySlideFormConfiguration>
</file>

<file path=customXml/item367.xml><?xml version="1.0" encoding="utf-8"?>
<TemplafySlideFormConfiguration><![CDATA[{"formFields":[],"formDataEntries":[]}]]></TemplafySlideFormConfiguration>
</file>

<file path=customXml/item368.xml><?xml version="1.0" encoding="utf-8"?>
<TemplafySlideFormConfiguration><![CDATA[{"formFields":[],"formDataEntries":[]}]]></TemplafySlideFormConfiguration>
</file>

<file path=customXml/item369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70.xml><?xml version="1.0" encoding="utf-8"?>
<TemplafySlideTemplateConfiguration><![CDATA[{"documentContentValidatorConfiguration":{"enableDocumentContentValidator":false,"documentContentValidatorVersion":0},"elementsMetadata":[],"slideId":"637533952204269902","enableDocumentContentUpdater":true,"version":"1.3"}]]></TemplafySlideTemplateConfiguration>
</file>

<file path=customXml/item371.xml><?xml version="1.0" encoding="utf-8"?>
<TemplafySlideTemplateConfiguration><![CDATA[{"documentContentValidatorConfiguration":{"enableDocumentContentValidator":false,"documentContentValidatorVersion":0},"elementsMetadata":[],"slideId":"637762067121039485","enableDocumentContentUpdater":true,"version":"1.3"}]]></TemplafySlideTemplateConfiguration>
</file>

<file path=customXml/item372.xml><?xml version="1.0" encoding="utf-8"?>
<TemplafySlideFormConfiguration><![CDATA[{"formFields":[],"formDataEntries":[]}]]></TemplafySlideFormConfiguration>
</file>

<file path=customXml/item37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702233","version":"1.3"}]]></TemplafySlideTemplateConfiguration>
</file>

<file path=customXml/item374.xml><?xml version="1.0" encoding="utf-8"?>
<TemplafySlideTemplateConfiguration><![CDATA[{"documentContentValidatorConfiguration":{"enableDocumentContentValidator":false,"documentContentValidatorVersion":0},"elementsMetadata":[],"slideId":"637533952145675619","enableDocumentContentUpdater":true,"version":"1.3"}]]></TemplafySlideTemplateConfiguration>
</file>

<file path=customXml/item375.xml><?xml version="1.0" encoding="utf-8"?>
<TemplafySlideTemplateConfiguration><![CDATA[{"documentContentValidatorConfiguration":{"enableDocumentContentValidator":false,"documentContentValidatorVersion":0},"elementsMetadata":[],"slideId":"637533952156300784","enableDocumentContentUpdater":true,"version":"1.3"}]]></TemplafySlideTemplateConfiguration>
</file>

<file path=customXml/item376.xml><?xml version="1.0" encoding="utf-8"?>
<TemplafySlideFormConfiguration><![CDATA[{"formFields":[],"formDataEntries":[]}]]></TemplafySlideFormConfiguration>
</file>

<file path=customXml/item377.xml><?xml version="1.0" encoding="utf-8"?>
<TemplafySlideFormConfiguration><![CDATA[{"formFields":[],"formDataEntries":[]}]]></TemplafySlideFormConfiguration>
</file>

<file path=customXml/item378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379.xml><?xml version="1.0" encoding="utf-8"?>
<TemplafySlideFormConfiguration><![CDATA[{"formFields":[],"formDataEntries":[]}]]></TemplafySlideFormConfiguration>
</file>

<file path=customXml/item38.xml><?xml version="1.0" encoding="utf-8"?>
<TemplafySlideTemplateConfiguration><![CDATA[{"documentContentValidatorConfiguration":{"enableDocumentContentValidator":false,"documentContentValidatorVersion":0},"elementsMetadata":[],"slideId":"637762067137289632","enableDocumentContentUpdater":true,"version":"1.3"}]]></TemplafySlideTemplateConfiguration>
</file>

<file path=customXml/item380.xml><?xml version="1.0" encoding="utf-8"?>
<TemplafySlideFormConfiguration><![CDATA[{"formFields":[],"formDataEntries":[]}]]></TemplafySlideFormConfiguration>
</file>

<file path=customXml/item381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382.xml><?xml version="1.0" encoding="utf-8"?>
<TemplafySlideTemplateConfiguration><![CDATA[{"documentContentValidatorConfiguration":{"enableDocumentContentValidator":false,"documentContentValidatorVersion":0},"elementsMetadata":[],"slideId":"637762067075726365","enableDocumentContentUpdater":true,"version":"1.3"}]]></TemplafySlideTemplateConfiguration>
</file>

<file path=customXml/item383.xml><?xml version="1.0" encoding="utf-8"?>
<TemplafySlideTemplateConfiguration><![CDATA[{"documentContentValidatorConfiguration":{"enableDocumentContentValidator":false,"documentContentValidatorVersion":0},"elementsMetadata":[],"slideId":"637762067083226513","enableDocumentContentUpdater":true,"version":"1.3"}]]></TemplafySlideTemplateConfiguration>
</file>

<file path=customXml/item384.xml><?xml version="1.0" encoding="utf-8"?>
<TemplafySlideFormConfiguration><![CDATA[{"formFields":[],"formDataEntries":[]}]]></TemplafySlideFormConfiguration>
</file>

<file path=customXml/item385.xml><?xml version="1.0" encoding="utf-8"?>
<TemplafySlideFormConfiguration><![CDATA[{"formFields":[],"formDataEntries":[]}]]></TemplafySlideFormConfiguration>
</file>

<file path=customXml/item386.xml><?xml version="1.0" encoding="utf-8"?>
<TemplafySlideFormConfiguration><![CDATA[{"formFields":[],"formDataEntries":[]}]]></TemplafySlideFormConfiguration>
</file>

<file path=customXml/item387.xml><?xml version="1.0" encoding="utf-8"?>
<TemplafySlideTemplateConfiguration><![CDATA[{"documentContentValidatorConfiguration":{"enableDocumentContentValidator":false,"documentContentValidatorVersion":0},"elementsMetadata":[],"slideId":"637762067069632546","enableDocumentContentUpdater":true,"version":"1.3"}]]></TemplafySlideTemplateConfiguration>
</file>

<file path=customXml/item388.xml><?xml version="1.0" encoding="utf-8"?>
<TemplafySlideTemplateConfiguration><![CDATA[{"documentContentValidatorConfiguration":{"enableDocumentContentValidator":false,"documentContentValidatorVersion":0},"elementsMetadata":[],"slideId":"637762067148696141","enableDocumentContentUpdater":true,"version":"1.3"}]]></TemplafySlideTemplateConfiguration>
</file>

<file path=customXml/item389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594873","version":"1.3"}]]></TemplafySlideTemplateConfiguration>
</file>

<file path=customXml/item390.xml><?xml version="1.0" encoding="utf-8"?>
<TemplafySlideTemplateConfiguration><![CDATA[{"documentContentValidatorConfiguration":{"enableDocumentContentValidator":false,"documentContentValidatorVersion":0},"elementsMetadata":[],"slideId":"637762067074632607","enableDocumentContentUpdater":true,"version":"1.3"}]]></TemplafySlideTemplateConfiguration>
</file>

<file path=customXml/item391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392.xml><?xml version="1.0" encoding="utf-8"?>
<TemplafySlideFormConfiguration><![CDATA[{"formFields":[],"formDataEntries":[]}]]></TemplafySlideFormConfiguration>
</file>

<file path=customXml/item393.xml><?xml version="1.0" encoding="utf-8"?>
<TemplafySlideTemplateConfiguration><![CDATA[{"documentContentValidatorConfiguration":{"enableDocumentContentValidator":false,"documentContentValidatorVersion":0},"elementsMetadata":[],"slideId":"637762067081195210","enableDocumentContentUpdater":true,"version":"1.3"}]]></TemplafySlideTemplateConfiguration>
</file>

<file path=customXml/item394.xml><?xml version="1.0" encoding="utf-8"?>
<TemplafySlideFormConfiguration><![CDATA[{"formFields":[],"formDataEntries":[]}]]></TemplafySlideFormConfiguration>
</file>

<file path=customXml/item395.xml><?xml version="1.0" encoding="utf-8"?>
<TemplafySlideTemplateConfiguration><![CDATA[{"documentContentValidatorConfiguration":{"enableDocumentContentValidator":false,"documentContentValidatorVersion":0},"elementsMetadata":[],"slideId":"637762067127602081","enableDocumentContentUpdater":true,"version":"1.3"}]]></TemplafySlideTemplateConfiguration>
</file>

<file path=customXml/item396.xml><?xml version="1.0" encoding="utf-8"?>
<TemplafySlideTemplateConfiguration><![CDATA[{"documentContentValidatorConfiguration":{"enableDocumentContentValidator":false,"documentContentValidatorVersion":0},"elementsMetadata":[],"slideId":"637533952088331148","enableDocumentContentUpdater":true,"version":"1.3"}]]></TemplafySlideTemplateConfiguration>
</file>

<file path=customXml/item397.xml><?xml version="1.0" encoding="utf-8"?>
<TemplafySlideFormConfiguration><![CDATA[{"formFields":[],"formDataEntries":[]}]]></TemplafySlideFormConfiguration>
</file>

<file path=customXml/item398.xml><?xml version="1.0" encoding="utf-8"?>
<TemplafySlideFormConfiguration><![CDATA[{"formFields":[],"formDataEntries":[]}]]></TemplafySlideFormConfiguration>
</file>

<file path=customXml/item399.xml><?xml version="1.0" encoding="utf-8"?>
<TemplafySlideTemplateConfiguration><![CDATA[{"documentContentValidatorConfiguration":{"enableDocumentContentValidator":false,"documentContentValidatorVersion":0},"elementsMetadata":[],"slideId":"637762067119320795","enableDocumentContentUpdater":true,"version":"1.3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533952140988024","enableDocumentContentUpdater":true,"version":"1.3"}]]></TemplafySlideTemplateConfiguration>
</file>

<file path=customXml/item40.xml><?xml version="1.0" encoding="utf-8"?>
<TemplafySlideTemplateConfiguration><![CDATA[{"documentContentValidatorConfiguration":{"enableDocumentContentValidator":false,"documentContentValidatorVersion":0},"elementsMetadata":[],"slideId":"637762067130258328","enableDocumentContentUpdater":true,"version":"1.3"}]]></TemplafySlideTemplateConfiguration>
</file>

<file path=customXml/item400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401.xml><?xml version="1.0" encoding="utf-8"?>
<TemplafySlideFormConfiguration><![CDATA[{"formFields":[],"formDataEntries":[]}]]></TemplafySlideFormConfiguration>
</file>

<file path=customXml/item402.xml><?xml version="1.0" encoding="utf-8"?>
<TemplafySlideFormConfiguration><![CDATA[{"formFields":[],"formDataEntries":[]}]]></TemplafySlideFormConfiguration>
</file>

<file path=customXml/item403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404.xml><?xml version="1.0" encoding="utf-8"?>
<TemplafySlideFormConfiguration><![CDATA[{"formFields":[],"formDataEntries":[]}]]></TemplafySlideFormConfiguration>
</file>

<file path=customXml/item405.xml><?xml version="1.0" encoding="utf-8"?>
<TemplafySlideTemplateConfiguration><![CDATA[{"documentContentValidatorConfiguration":{"enableDocumentContentValidator":false,"documentContentValidatorVersion":0},"elementsMetadata":[],"slideId":"637533952149269409","enableDocumentContentUpdater":true,"version":"1.3"}]]></TemplafySlideTemplateConfiguration>
</file>

<file path=customXml/item406.xml><?xml version="1.0" encoding="utf-8"?>
<TemplafySlideTemplateConfiguration><![CDATA[{"documentContentValidatorConfiguration":{"enableDocumentContentValidator":false,"documentContentValidatorVersion":0},"elementsMetadata":[],"slideId":"637533952150206942","enableDocumentContentUpdater":true,"version":"1.3"}]]></TemplafySlideTemplateConfiguration>
</file>

<file path=customXml/item407.xml><?xml version="1.0" encoding="utf-8"?>
<TemplafySlideTemplateConfiguration><![CDATA[{"documentContentValidatorConfiguration":{"enableDocumentContentValidator":false,"documentContentValidatorVersion":0},"elementsMetadata":[],"slideId":"637533952185363502","enableDocumentContentUpdater":true,"version":"1.3"}]]></TemplafySlideTemplateConfiguration>
</file>

<file path=customXml/item408.xml><?xml version="1.0" encoding="utf-8"?>
<TemplafySlideTemplateConfiguration><![CDATA[{"documentContentValidatorConfiguration":{"enableDocumentContentValidator":false,"documentContentValidatorVersion":0},"elementsMetadata":[],"slideId":"637762067131977059","enableDocumentContentUpdater":true,"version":"1.3"}]]></TemplafySlideTemplateConfiguration>
</file>

<file path=customXml/item409.xml><?xml version="1.0" encoding="utf-8"?>
<TemplafySlideFormConfiguration><![CDATA[{"formFields":[],"formDataEntries":[]}]]></TemplafySlideFormConfiguration>
</file>

<file path=customXml/item41.xml><?xml version="1.0" encoding="utf-8"?>
<TemplafySlideTemplateConfiguration><![CDATA[{"documentContentValidatorConfiguration":{"enableDocumentContentValidator":false,"documentContentValidatorVersion":0},"elementsMetadata":[],"slideId":"637533952094581246","enableDocumentContentUpdater":true,"version":"1.3"}]]></TemplafySlideTemplateConfiguration>
</file>

<file path=customXml/item410.xml><?xml version="1.0" encoding="utf-8"?>
<TemplafySlideFormConfiguration><![CDATA[{"formFields":[],"formDataEntries":[]}]]></TemplafySlideFormConfiguration>
</file>

<file path=customXml/item411.xml><?xml version="1.0" encoding="utf-8"?>
<TemplafySlideFormConfiguration><![CDATA[{"formFields":[],"formDataEntries":[]}]]></TemplafySlideFormConfiguration>
</file>

<file path=customXml/item412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077234","version":"1.3"}]]></TemplafySlideTemplateConfiguration>
</file>

<file path=customXml/item413.xml><?xml version="1.0" encoding="utf-8"?>
<TemplafySlideFormConfiguration><![CDATA[{"formFields":[],"formDataEntries":[]}]]></TemplafySlideFormConfiguration>
</file>

<file path=customXml/item414.xml><?xml version="1.0" encoding="utf-8"?>
<TemplafySlideFormConfiguration><![CDATA[{"formFields":[],"formDataEntries":[]}]]></TemplafySlideFormConfiguration>
</file>

<file path=customXml/item415.xml><?xml version="1.0" encoding="utf-8"?>
<TemplafySlideFormConfiguration><![CDATA[{"formFields":[],"formDataEntries":[]}]]></TemplafySlideFormConfiguration>
</file>

<file path=customXml/item416.xml><?xml version="1.0" encoding="utf-8"?>
<TemplafySlideFormConfiguration><![CDATA[{"formFields":[],"formDataEntries":[]}]]></TemplafySlideFormConfiguration>
</file>

<file path=customXml/item417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418.xml><?xml version="1.0" encoding="utf-8"?>
<TemplafySlideTemplateConfiguration><![CDATA[{"documentContentValidatorConfiguration":{"enableDocumentContentValidator":false,"documentContentValidatorVersion":0},"elementsMetadata":[],"slideId":"637533952085987380","enableDocumentContentUpdater":true,"version":"1.3"}]]></TemplafySlideTemplateConfiguration>
</file>

<file path=customXml/item419.xml><?xml version="1.0" encoding="utf-8"?>
<TemplafySlideTemplateConfiguration><![CDATA[{"documentContentValidatorConfiguration":{"enableDocumentContentValidator":false,"documentContentValidatorVersion":0},"elementsMetadata":[],"slideId":"637762067156664899","enableDocumentContentUpdater":true,"version":"1.3"}]]></TemplafySlideTemplateConfiguration>
</file>

<file path=customXml/item42.xml><?xml version="1.0" encoding="utf-8"?>
<TemplafySlideTemplateConfiguration><![CDATA[{"documentContentValidatorConfiguration":{"enableDocumentContentValidator":false,"documentContentValidatorVersion":0},"elementsMetadata":[],"slideId":"637533952136769283","enableDocumentContentUpdater":true,"version":"1.3"}]]></TemplafySlideTemplateConfiguration>
</file>

<file path=customXml/item420.xml><?xml version="1.0" encoding="utf-8"?>
<TemplafySlideTemplateConfiguration><![CDATA[{"documentContentValidatorConfiguration":{"enableDocumentContentValidator":false,"documentContentValidatorVersion":0},"elementsMetadata":[],"slideId":"637533952205988609","enableDocumentContentUpdater":true,"version":"1.3"}]]></TemplafySlideTemplateConfiguration>
</file>

<file path=customXml/item421.xml><?xml version="1.0" encoding="utf-8"?>
<TemplafySlideFormConfiguration><![CDATA[{"formFields":[],"formDataEntries":[]}]]></TemplafySlideFormConfiguration>
</file>

<file path=customXml/item422.xml><?xml version="1.0" encoding="utf-8"?>
<TemplafySlideTemplateConfiguration><![CDATA[{"documentContentValidatorConfiguration":{"enableDocumentContentValidator":false,"documentContentValidatorVersion":0},"elementsMetadata":[],"slideId":"637533952094112453","enableDocumentContentUpdater":true,"version":"1.3"}]]></TemplafySlideTemplateConfiguration>
</file>

<file path=customXml/item423.xml><?xml version="1.0" encoding="utf-8"?>
<TemplafySlideFormConfiguration><![CDATA[{"formFields":[],"formDataEntries":[]}]]></TemplafySlideFormConfiguration>
</file>

<file path=customXml/item424.xml><?xml version="1.0" encoding="utf-8"?>
<TemplafySlideFormConfiguration><![CDATA[{"formFields":[],"formDataEntries":[]}]]></TemplafySlideFormConfiguration>
</file>

<file path=customXml/item425.xml><?xml version="1.0" encoding="utf-8"?>
<TemplafySlideFormConfiguration><![CDATA[{"formFields":[],"formDataEntries":[]}]]></TemplafySlideFormConfiguration>
</file>

<file path=customXml/item426.xml><?xml version="1.0" encoding="utf-8"?>
<TemplafySlideTemplateConfiguration><![CDATA[{"documentContentValidatorConfiguration":{"enableDocumentContentValidator":false,"documentContentValidatorVersion":0},"elementsMetadata":[],"slideId":"637762067078382669","enableDocumentContentUpdater":true,"version":"1.3"}]]></TemplafySlideTemplateConfiguration>
</file>

<file path=customXml/item427.xml><?xml version="1.0" encoding="utf-8"?>
<TemplafySlideFormConfiguration><![CDATA[{"formFields":[],"formDataEntries":[]}]]></TemplafySlideFormConfiguration>
</file>

<file path=customXml/item428.xml><?xml version="1.0" encoding="utf-8"?>
<TemplafySlideFormConfiguration><![CDATA[{"formFields":[],"formDataEntries":[]}]]></TemplafySlideFormConfiguration>
</file>

<file path=customXml/item429.xml><?xml version="1.0" encoding="utf-8"?>
<TemplafySlideTemplateConfiguration><![CDATA[{"documentContentValidatorConfiguration":{"enableDocumentContentValidator":false,"documentContentValidatorVersion":0},"elementsMetadata":[],"slideId":"637762067151664814","enableDocumentContentUpdater":true,"version":"1.3"}]]></TemplafySlideTemplateConfiguration>
</file>

<file path=customXml/item43.xml><?xml version="1.0" encoding="utf-8"?>
<TemplafySlideFormConfiguration><![CDATA[{"formFields":[],"formDataEntries":[]}]]></TemplafySlideFormConfiguration>
</file>

<file path=customXml/item430.xml><?xml version="1.0" encoding="utf-8"?>
<TemplafySlideTemplateConfiguration><![CDATA[{"documentContentValidatorConfiguration":{"enableDocumentContentValidator":false,"documentContentValidatorVersion":0},"elementsMetadata":[],"slideId":"637533952079424762","enableDocumentContentUpdater":true,"version":"1.3"}]]></TemplafySlideTemplateConfiguration>
</file>

<file path=customXml/item431.xml><?xml version="1.0" encoding="utf-8"?>
<TemplafySlideTemplateConfiguration><![CDATA[{"documentContentValidatorConfiguration":{"enableDocumentContentValidator":false,"documentContentValidatorVersion":0},"elementsMetadata":[],"slideId":"637762067156046090","enableDocumentContentUpdater":true,"version":"1.3"}]]></TemplafySlideTemplateConfiguration>
</file>

<file path=customXml/item432.xml><?xml version="1.0" encoding="utf-8"?>
<TemplafySlideTemplateConfiguration><![CDATA[{"documentContentValidatorConfiguration":{"enableDocumentContentValidator":false,"documentContentValidatorVersion":0},"elementsMetadata":[],"slideId":"637762067079476454","enableDocumentContentUpdater":true,"version":"1.3"}]]></TemplafySlideTemplateConfiguration>
</file>

<file path=customXml/item433.xml><?xml version="1.0" encoding="utf-8"?>
<TemplafySlideTemplateConfiguration><![CDATA[{"documentContentValidatorConfiguration":{"enableDocumentContentValidator":false,"documentContentValidatorVersion":0},"elementsMetadata":[],"slideId":"637533952139113083","enableDocumentContentUpdater":true,"version":"1.3"}]]></TemplafySlideTemplateConfiguration>
</file>

<file path=customXml/item434.xml><?xml version="1.0" encoding="utf-8"?>
<TemplafySlideFormConfiguration><![CDATA[{"formFields":[],"formDataEntries":[]}]]></TemplafySlideFormConfiguration>
</file>

<file path=customXml/item435.xml><?xml version="1.0" encoding="utf-8"?>
<TemplafySlideTemplateConfiguration><![CDATA[{"documentContentValidatorConfiguration":{"enableDocumentContentValidator":false,"documentContentValidatorVersion":0},"elementsMetadata":[],"slideId":"637762067127289519","enableDocumentContentUpdater":true,"version":"1.3"}]]></TemplafySlideTemplateConfiguration>
</file>

<file path=customXml/item436.xml><?xml version="1.0" encoding="utf-8"?>
<TemplafySlideTemplateConfiguration><![CDATA[{"documentContentValidatorConfiguration":{"enableDocumentContentValidator":false,"documentContentValidatorVersion":0},"elementsMetadata":[],"slideId":"637762067164790118","enableDocumentContentUpdater":true,"version":"1.3"}]]></TemplafySlideTemplateConfiguration>
</file>

<file path=customXml/item43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0","version":"1.3"}]]></TemplafySlideTemplateConfiguration>
</file>

<file path=customXml/item438.xml><?xml version="1.0" encoding="utf-8"?>
<TemplafySlideFormConfiguration><![CDATA[{"formFields":[],"formDataEntries":[]}]]></TemplafySlideFormConfiguration>
</file>

<file path=customXml/item439.xml><?xml version="1.0" encoding="utf-8"?>
<TemplafySlideFormConfiguration><![CDATA[{"formFields":[],"formDataEntries":[]}]]></TemplafySlideFormConfiguration>
</file>

<file path=customXml/item44.xml><?xml version="1.0" encoding="utf-8"?>
<TemplafySlideTemplateConfiguration><![CDATA[{"documentContentValidatorConfiguration":{"enableDocumentContentValidator":false,"documentContentValidatorVersion":0},"elementsMetadata":[],"slideId":"637762067118226930","enableDocumentContentUpdater":true,"version":"1.3"}]]></TemplafySlideTemplateConfiguration>
</file>

<file path=customXml/item440.xml><?xml version="1.0" encoding="utf-8"?>
<TemplafySlideFormConfiguration><![CDATA[{"formFields":[],"formDataEntries":[]}]]></TemplafySlideFormConfiguration>
</file>

<file path=customXml/item441.xml><?xml version="1.0" encoding="utf-8"?>
<TemplafySlideFormConfiguration><![CDATA[{"formFields":[],"formDataEntries":[]}]]></TemplafySlideFormConfiguration>
</file>

<file path=customXml/item442.xml><?xml version="1.0" encoding="utf-8"?>
<TemplafySlideFormConfiguration><![CDATA[{"formFields":[],"formDataEntries":[]}]]></TemplafySlideFormConfiguration>
</file>

<file path=customXml/item443.xml><?xml version="1.0" encoding="utf-8"?>
<TemplafySlideFormConfiguration><![CDATA[{"formFields":[],"formDataEntries":[]}]]></TemplafySlideFormConfiguration>
</file>

<file path=customXml/item444.xml><?xml version="1.0" encoding="utf-8"?>
<TemplafySlideTemplateConfiguration><![CDATA[{"documentContentValidatorConfiguration":{"enableDocumentContentValidator":false,"documentContentValidatorVersion":0},"elementsMetadata":[],"slideId":"637762067113071102","enableDocumentContentUpdater":true,"version":"1.3"}]]></TemplafySlideTemplateConfiguration>
</file>

<file path=customXml/item445.xml><?xml version="1.0" encoding="utf-8"?>
<TemplafySlideFormConfiguration><![CDATA[{"formFields":[],"formDataEntries":[]}]]></TemplafySlideFormConfiguration>
</file>

<file path=customXml/item446.xml><?xml version="1.0" encoding="utf-8"?>
<TemplafySlideFormConfiguration><![CDATA[{"formFields":[],"formDataEntries":[]}]]></TemplafySlideFormConfiguration>
</file>

<file path=customXml/item447.xml><?xml version="1.0" encoding="utf-8"?>
<TemplafySlideFormConfiguration><![CDATA[{"formFields":[],"formDataEntries":[]}]]></TemplafySlideFormConfiguration>
</file>

<file path=customXml/item448.xml><?xml version="1.0" encoding="utf-8"?>
<TemplafySlideTemplateConfiguration><![CDATA[{"documentContentValidatorConfiguration":{"enableDocumentContentValidator":false,"documentContentValidatorVersion":0},"elementsMetadata":[],"slideId":"637762067080258604","enableDocumentContentUpdater":true,"version":"1.3"}]]></TemplafySlideTemplateConfiguration>
</file>

<file path=customXml/item449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],"formDataEntries":[]}]]></TemplafySlideFormConfiguration>
</file>

<file path=customXml/item450.xml><?xml version="1.0" encoding="utf-8"?>
<TemplafySlideFormConfiguration><![CDATA[{"formFields":[],"formDataEntries":[]}]]></TemplafySlideFormConfiguration>
</file>

<file path=customXml/item451.xml><?xml version="1.0" encoding="utf-8"?>
<TemplafySlideFormConfiguration><![CDATA[{"formFields":[],"formDataEntries":[]}]]></TemplafySlideFormConfiguration>
</file>

<file path=customXml/item452.xml><?xml version="1.0" encoding="utf-8"?>
<TemplafySlideFormConfiguration><![CDATA[{"formFields":[],"formDataEntries":[]}]]></TemplafySlideFormConfiguration>
</file>

<file path=customXml/item453.xml><?xml version="1.0" encoding="utf-8"?>
<TemplafySlideTemplateConfiguration><![CDATA[{"documentContentValidatorConfiguration":{"enableDocumentContentValidator":false,"documentContentValidatorVersion":0},"elementsMetadata":[],"slideId":"637533952076924732","enableDocumentContentUpdater":true,"version":"1.3"}]]></TemplafySlideTemplateConfiguration>
</file>

<file path=customXml/item454.xml><?xml version="1.0" encoding="utf-8"?>
<TemplafySlideFormConfiguration><![CDATA[{"formFields":[],"formDataEntries":[]}]]></TemplafySlideFormConfiguration>
</file>

<file path=customXml/item455.xml><?xml version="1.0" encoding="utf-8"?>
<TemplafySlideTemplateConfiguration><![CDATA[{"documentContentValidatorConfiguration":{"enableDocumentContentValidator":false,"documentContentValidatorVersion":0},"elementsMetadata":[],"slideId":"637762067082288974","enableDocumentContentUpdater":true,"version":"1.3"}]]></TemplafySlideTemplateConfiguration>
</file>

<file path=customXml/item456.xml><?xml version="1.0" encoding="utf-8"?>
<TemplafySlideFormConfiguration><![CDATA[{"formFields":[],"formDataEntries":[]}]]></TemplafySlideFormConfiguration>
</file>

<file path=customXml/item457.xml><?xml version="1.0" encoding="utf-8"?>
<TemplafySlideFormConfiguration><![CDATA[{"formFields":[],"formDataEntries":[]}]]></TemplafySlideFormConfiguration>
</file>

<file path=customXml/item458.xml><?xml version="1.0" encoding="utf-8"?>
<TemplafySlideTemplateConfiguration><![CDATA[{"documentContentValidatorConfiguration":{"enableDocumentContentValidator":false,"documentContentValidatorVersion":0},"elementsMetadata":[],"slideId":"637762067080726471","enableDocumentContentUpdater":true,"version":"1.3"}]]></TemplafySlideTemplateConfiguration>
</file>

<file path=customXml/item459.xml><?xml version="1.0" encoding="utf-8"?>
<TemplafySlideTemplateConfiguration><![CDATA[{"documentContentValidatorConfiguration":{"enableDocumentContentValidator":false,"documentContentValidatorVersion":0},"elementsMetadata":[],"slideId":"637533952083487360","enableDocumentContentUpdater":true,"version":"1.3"}]]></TemplafySlideTemplateConfiguration>
</file>

<file path=customXml/item46.xml><?xml version="1.0" encoding="utf-8"?>
<TemplafySlideFormConfiguration><![CDATA[{"formFields":[],"formDataEntries":[]}]]></TemplafySlideFormConfiguration>
</file>

<file path=customXml/item460.xml><?xml version="1.0" encoding="utf-8"?>
<TemplafySlideTemplateConfiguration><![CDATA[{"documentContentValidatorConfiguration":{"enableDocumentContentValidator":false,"documentContentValidatorVersion":0},"elementsMetadata":[],"slideId":"637213190303177626","enableDocumentContentUpdater":true,"version":"1.3"}]]></TemplafySlideTemplateConfiguration>
</file>

<file path=customXml/item461.xml><?xml version="1.0" encoding="utf-8"?>
<TemplafySlideTemplateConfiguration><![CDATA[{"documentContentValidatorConfiguration":{"enableDocumentContentValidator":false,"documentContentValidatorVersion":0},"elementsMetadata":[],"slideId":"637533952203957352","enableDocumentContentUpdater":true,"version":"1.3"}]]></TemplafySlideTemplateConfiguration>
</file>

<file path=customXml/item46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463.xml><?xml version="1.0" encoding="utf-8"?>
<TemplafySlideTemplateConfiguration><![CDATA[{"documentContentValidatorConfiguration":{"enableDocumentContentValidator":false,"documentContentValidatorVersion":0},"elementsMetadata":[],"slideId":"637533952200988649","enableDocumentContentUpdater":true,"version":"1.3"}]]></TemplafySlideTemplateConfiguration>
</file>

<file path=customXml/item46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389787","version":"1.3"}]]></TemplafySlideTemplateConfiguration>
</file>

<file path=customXml/item465.xml><?xml version="1.0" encoding="utf-8"?>
<TemplafySlideFormConfiguration><![CDATA[{"formFields":[],"formDataEntries":[]}]]></TemplafySlideFormConfiguration>
</file>

<file path=customXml/item466.xml><?xml version="1.0" encoding="utf-8"?>
<TemplafySlideFormConfiguration><![CDATA[{"formFields":[],"formDataEntries":[]}]]></TemplafySlideFormConfiguration>
</file>

<file path=customXml/item46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764726","version":"1.3"}]]></TemplafySlideTemplateConfiguration>
</file>

<file path=customXml/item468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469.xml><?xml version="1.0" encoding="utf-8"?>
<TemplafySlideTemplateConfiguration><![CDATA[{"documentContentValidatorConfiguration":{"enableDocumentContentValidator":false,"documentContentValidatorVersion":0},"elementsMetadata":[],"slideId":"637762067089320389","enableDocumentContentUpdater":true,"version":"1.3"}]]></TemplafySlideTemplateConfiguration>
</file>

<file path=customXml/item47.xml><?xml version="1.0" encoding="utf-8"?>
<TemplafySlideTemplateConfiguration><![CDATA[{"documentContentValidatorConfiguration":{"enableDocumentContentValidator":false,"documentContentValidatorVersion":0},"elementsMetadata":[],"slideId":"637533952143019340","enableDocumentContentUpdater":true,"version":"1.3"}]]></TemplafySlideTemplateConfiguration>
</file>

<file path=customXml/item470.xml><?xml version="1.0" encoding="utf-8"?>
<TemplafySlideTemplateConfiguration><![CDATA[{"documentContentValidatorConfiguration":{"enableDocumentContentValidator":false,"documentContentValidatorVersion":0},"elementsMetadata":[],"slideId":"637533952088799855","enableDocumentContentUpdater":true,"version":"1.3"}]]></TemplafySlideTemplateConfiguration>
</file>

<file path=customXml/item471.xml><?xml version="1.0" encoding="utf-8"?>
<TemplafySlideTemplateConfiguration><![CDATA[{"documentContentValidatorConfiguration":{"enableDocumentContentValidator":false,"documentContentValidatorVersion":0},"elementsMetadata":[],"slideId":"637762067120101942","enableDocumentContentUpdater":true,"version":"1.3"}]]></TemplafySlideTemplateConfiguration>
</file>

<file path=customXml/item472.xml><?xml version="1.0" encoding="utf-8"?>
<TemplafySlideTemplateConfiguration><![CDATA[{"documentContentValidatorConfiguration":{"enableDocumentContentValidator":false,"documentContentValidatorVersion":0},"elementsMetadata":[],"slideId":"637762067076195134","enableDocumentContentUpdater":true,"version":"1.3"}]]></TemplafySlideTemplateConfiguration>
</file>

<file path=customXml/item473.xml><?xml version="1.0" encoding="utf-8"?>
<TemplafySlideTemplateConfiguration><![CDATA[{"documentContentValidatorConfiguration":{"enableDocumentContentValidator":false,"documentContentValidatorVersion":0},"elementsMetadata":[],"slideId":"637533952077393486","enableDocumentContentUpdater":true,"version":"1.3"}]]></TemplafySlideTemplateConfiguration>
</file>

<file path=customXml/item474.xml><?xml version="1.0" encoding="utf-8"?>
<TemplafySlideTemplateConfiguration><![CDATA[{"documentContentValidatorConfiguration":{"enableDocumentContentValidator":false,"documentContentValidatorVersion":0},"elementsMetadata":[],"slideId":"637533952139738026","enableDocumentContentUpdater":true,"version":"1.3"}]]></TemplafySlideTemplateConfiguration>
</file>

<file path=customXml/item47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19","version":"1.3"}]]></TemplafySlideTemplateConfiguration>
</file>

<file path=customXml/item476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477.xml><?xml version="1.0" encoding="utf-8"?>
<TemplafySlideFormConfiguration><![CDATA[{"formFields":[],"formDataEntries":[]}]]></TemplafySlideFormConfiguration>
</file>

<file path=customXml/item47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6264691","version":"1.3"}]]></TemplafySlideTemplateConfiguration>
</file>

<file path=customXml/item479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80.xml><?xml version="1.0" encoding="utf-8"?>
<TemplafySlideFormConfiguration><![CDATA[{"formFields":[],"formDataEntries":[]}]]></TemplafySlideFormConfiguration>
</file>

<file path=customXml/item481.xml><?xml version="1.0" encoding="utf-8"?>
<TemplafySlideFormConfiguration><![CDATA[{"formFields":[],"formDataEntries":[]}]]></TemplafySlideFormConfiguration>
</file>

<file path=customXml/item482.xml><?xml version="1.0" encoding="utf-8"?>
<TemplafySlideTemplateConfiguration><![CDATA[{"documentContentValidatorConfiguration":{"enableDocumentContentValidator":false,"documentContentValidatorVersion":0},"elementsMetadata":[],"slideId":"637533952190676034","enableDocumentContentUpdater":true,"version":"1.3"}]]></TemplafySlideTemplateConfiguration>
</file>

<file path=customXml/item483.xml><?xml version="1.0" encoding="utf-8"?>
<TemplafySlideTemplateConfiguration><![CDATA[{"documentContentValidatorConfiguration":{"enableDocumentContentValidator":false,"documentContentValidatorVersion":0},"elementsMetadata":[],"slideId":"637533952086143615","enableDocumentContentUpdater":true,"version":"1.3"}]]></TemplafySlideTemplateConfiguration>
</file>

<file path=customXml/item484.xml><?xml version="1.0" encoding="utf-8"?>
<TemplafySlideTemplateConfiguration><![CDATA[{"documentContentValidatorConfiguration":{"enableDocumentContentValidator":false,"documentContentValidatorVersion":0},"elementsMetadata":[],"slideId":"637533952163957082","enableDocumentContentUpdater":true,"version":"1.3"}]]></TemplafySlideTemplateConfiguration>
</file>

<file path=customXml/item485.xml><?xml version="1.0" encoding="utf-8"?>
<TemplafySlideFormConfiguration><![CDATA[{"formFields":[],"formDataEntries":[]}]]></TemplafySlideFormConfiguration>
</file>

<file path=customXml/item486.xml><?xml version="1.0" encoding="utf-8"?>
<TemplafySlideFormConfiguration><![CDATA[{"formFields":[],"formDataEntries":[]}]]></TemplafySlideFormConfiguration>
</file>

<file path=customXml/item487.xml><?xml version="1.0" encoding="utf-8"?>
<TemplafySlideFormConfiguration><![CDATA[{"formFields":[],"formDataEntries":[]}]]></TemplafySlideFormConfiguration>
</file>

<file path=customXml/item48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2","version":"1.3"}]]></TemplafySlideTemplateConfiguration>
</file>

<file path=customXml/item489.xml><?xml version="1.0" encoding="utf-8"?>
<TemplafySlideTemplateConfiguration><![CDATA[{"documentContentValidatorConfiguration":{"enableDocumentContentValidator":false,"documentContentValidatorVersion":0},"elementsMetadata":[],"slideId":"637533952145050608","enableDocumentContentUpdater":true,"version":"1.3"}]]></TemplafySlideTemplateConfiguration>
</file>

<file path=customXml/item49.xml><?xml version="1.0" encoding="utf-8"?>
<TemplafySlideTemplateConfiguration><![CDATA[{"documentContentValidatorConfiguration":{"enableDocumentContentValidator":false,"documentContentValidatorVersion":0},"elementsMetadata":[],"slideId":"637762067138539703","enableDocumentContentUpdater":true,"version":"1.3"}]]></TemplafySlideTemplateConfiguration>
</file>

<file path=customXml/item490.xml><?xml version="1.0" encoding="utf-8"?>
<TemplafySlideTemplateConfiguration><![CDATA[{"documentContentValidatorConfiguration":{"enableDocumentContentValidator":false,"documentContentValidatorVersion":0},"elementsMetadata":[],"slideId":"637762067106351855","enableDocumentContentUpdater":true,"version":"1.3"}]]></TemplafySlideTemplateConfiguration>
</file>

<file path=customXml/item491.xml><?xml version="1.0" encoding="utf-8"?>
<TemplafySlideFormConfiguration><![CDATA[{"formFields":[],"formDataEntries":[]}]]></TemplafySlideFormConfiguration>
</file>

<file path=customXml/item492.xml><?xml version="1.0" encoding="utf-8"?>
<TemplafySlideFormConfiguration><![CDATA[{"formFields":[],"formDataEntries":[]}]]></TemplafySlideFormConfiguration>
</file>

<file path=customXml/item493.xml><?xml version="1.0" encoding="utf-8"?>
<TemplafySlideFormConfiguration><![CDATA[{"formFields":[],"formDataEntries":[]}]]></TemplafySlideFormConfiguration>
</file>

<file path=customXml/item494.xml><?xml version="1.0" encoding="utf-8"?>
<TemplafySlideFormConfiguration><![CDATA[{"formFields":[],"formDataEntries":[]}]]></TemplafySlideFormConfiguration>
</file>

<file path=customXml/item495.xml><?xml version="1.0" encoding="utf-8"?>
<TemplafySlideFormConfiguration><![CDATA[{"formFields":[],"formDataEntries":[]}]]></TemplafySlideFormConfiguration>
</file>

<file path=customXml/item496.xml><?xml version="1.0" encoding="utf-8"?>
<TemplafySlideFormConfiguration><![CDATA[{"formFields":[],"formDataEntries":[]}]]></TemplafySlideFormConfiguration>
</file>

<file path=customXml/item497.xml><?xml version="1.0" encoding="utf-8"?>
<TemplafySlideFormConfiguration><![CDATA[{"formFields":[],"formDataEntries":[]}]]></TemplafySlideFormConfiguration>
</file>

<file path=customXml/item498.xml><?xml version="1.0" encoding="utf-8"?>
<TemplafySlideFormConfiguration><![CDATA[{"formFields":[],"formDataEntries":[]}]]></TemplafySlideFormConfiguration>
</file>

<file path=customXml/item49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533952170988372","enableDocumentContentUpdater":true,"version":"1.3"}]]></TemplafySlideTemplateConfiguration>
</file>

<file path=customXml/item50.xml><?xml version="1.0" encoding="utf-8"?>
<TemplafySlideTemplateConfiguration><![CDATA[{"documentContentValidatorConfiguration":{"enableDocumentContentValidator":false,"documentContentValidatorVersion":0},"elementsMetadata":[],"slideId":"637762067129164531","enableDocumentContentUpdater":true,"version":"1.3"}]]></TemplafySlideTemplateConfiguration>
</file>

<file path=customXml/item500.xml><?xml version="1.0" encoding="utf-8"?>
<TemplafySlideTemplateConfiguration><![CDATA[{"documentContentValidatorConfiguration":{"enableDocumentContentValidator":false,"documentContentValidatorVersion":0},"elementsMetadata":[],"slideId":"637762067093851670","enableDocumentContentUpdater":true,"version":"1.3"}]]></TemplafySlideTemplateConfiguration>
</file>

<file path=customXml/item501.xml><?xml version="1.0" encoding="utf-8"?>
<TemplafySlideFormConfiguration><![CDATA[{"formFields":[],"formDataEntries":[]}]]></TemplafySlideFormConfiguration>
</file>

<file path=customXml/item502.xml><?xml version="1.0" encoding="utf-8"?>
<TemplafySlideFormConfiguration><![CDATA[{"formFields":[],"formDataEntries":[]}]]></TemplafySlideFormConfiguration>
</file>

<file path=customXml/item503.xml><?xml version="1.0" encoding="utf-8"?>
<TemplafySlideTemplateConfiguration><![CDATA[{"documentContentValidatorConfiguration":{"enableDocumentContentValidator":false,"documentContentValidatorVersion":0},"elementsMetadata":[],"slideId":"637762067103539310","enableDocumentContentUpdater":true,"version":"1.3"}]]></TemplafySlideTemplateConfiguration>
</file>

<file path=customXml/item504.xml><?xml version="1.0" encoding="utf-8"?>
<TemplafySlideFormConfiguration><![CDATA[{"formFields":[],"formDataEntries":[]}]]></TemplafySlideFormConfiguration>
</file>

<file path=customXml/item505.xml><?xml version="1.0" encoding="utf-8"?>
<TemplafySlideTemplateConfiguration><![CDATA[{"documentContentValidatorConfiguration":{"enableDocumentContentValidator":false,"documentContentValidatorVersion":0},"elementsMetadata":[],"slideId":"637762067122447607","enableDocumentContentUpdater":true,"version":"1.3"}]]></TemplafySlideTemplateConfiguration>
</file>

<file path=customXml/item506.xml><?xml version="1.0" encoding="utf-8"?>
<TemplafySlideFormConfiguration><![CDATA[{"formFields":[],"formDataEntries":[]}]]></TemplafySlideFormConfiguration>
</file>

<file path=customXml/item507.xml><?xml version="1.0" encoding="utf-8"?>
<TemplafySlideTemplateConfiguration><![CDATA[{"documentContentValidatorConfiguration":{"enableDocumentContentValidator":false,"documentContentValidatorVersion":0},"elementsMetadata":[],"slideId":"637762067068851930","enableDocumentContentUpdater":true,"version":"1.3"}]]></TemplafySlideTemplateConfiguration>
</file>

<file path=customXml/item508.xml><?xml version="1.0" encoding="utf-8"?>
<TemplafySlideFormConfiguration><![CDATA[{"formFields":[],"formDataEntries":[]}]]></TemplafySlideFormConfiguration>
</file>

<file path=customXml/item509.xml><?xml version="1.0" encoding="utf-8"?>
<TemplafySlideTemplateConfiguration><![CDATA[{"documentContentValidatorConfiguration":{"enableDocumentContentValidator":false,"documentContentValidatorVersion":0},"elementsMetadata":[],"slideId":"637762067113541497","enableDocumentContentUpdater":true,"version":"1.3"}]]></TemplafySlideTemplateConfiguration>
</file>

<file path=customXml/item51.xml><?xml version="1.0" encoding="utf-8"?>
<TemplafySlideTemplateConfiguration><![CDATA[{"documentContentValidatorConfiguration":{"enableDocumentContentValidator":false,"documentContentValidatorVersion":0},"elementsMetadata":[],"slideId":"637762067096664231","enableDocumentContentUpdater":true,"version":"1.3"}]]></TemplafySlideTemplateConfiguration>
</file>

<file path=customXml/item510.xml><?xml version="1.0" encoding="utf-8"?>
<TemplafySlideFormConfiguration><![CDATA[{"formFields":[],"formDataEntries":[]}]]></TemplafySlideFormConfiguration>
</file>

<file path=customXml/item511.xml><?xml version="1.0" encoding="utf-8"?>
<TemplafySlideFormConfiguration><![CDATA[{"formFields":[],"formDataEntries":[]}]]></TemplafySlideFormConfiguration>
</file>

<file path=customXml/item512.xml><?xml version="1.0" encoding="utf-8"?>
<TemplafySlideTemplateConfiguration><![CDATA[{"documentContentValidatorConfiguration":{"enableDocumentContentValidator":false,"documentContentValidatorVersion":0},"elementsMetadata":[],"slideId":"637762067158852517","enableDocumentContentUpdater":true,"version":"1.3"}]]></TemplafySlideTemplateConfiguration>
</file>

<file path=customXml/item513.xml><?xml version="1.0" encoding="utf-8"?>
<TemplafySlideTemplateConfiguration><![CDATA[{"documentContentValidatorConfiguration":{"enableDocumentContentValidator":false,"documentContentValidatorVersion":0},"elementsMetadata":[],"slideId":"637533952200363607","enableDocumentContentUpdater":true,"version":"1.3"}]]></TemplafySlideTemplateConfiguration>
</file>

<file path=customXml/item52.xml><?xml version="1.0" encoding="utf-8"?>
<TemplafySlideFormConfiguration><![CDATA[{"formFields":[],"formDataEntries":[]}]]></TemplafySlideFormConfiguration>
</file>

<file path=customXml/item53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54.xml><?xml version="1.0" encoding="utf-8"?>
<TemplafySlideTemplateConfiguration><![CDATA[{"documentContentValidatorConfiguration":{"enableDocumentContentValidator":false,"documentContentValidatorVersion":0},"elementsMetadata":[],"slideId":"637533952119269071","enableDocumentContentUpdater":true,"version":"1.3"}]]></TemplafySlideTemplateConfiguration>
</file>

<file path=customXml/item55.xml><?xml version="1.0" encoding="utf-8"?>
<TemplafySlideFormConfiguration><![CDATA[{"formFields":[],"formDataEntries":[]}]]></TemplafySlideFormConfiguration>
</file>

<file path=customXml/item56.xml><?xml version="1.0" encoding="utf-8"?>
<TemplafySlideFormConfiguration><![CDATA[{"formFields":[],"formDataEntries":[]}]]></TemplafySlideFormConfiguration>
</file>

<file path=customXml/item57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58.xml><?xml version="1.0" encoding="utf-8"?>
<TemplafySlideTemplateConfiguration><![CDATA[{"documentContentValidatorConfiguration":{"enableDocumentContentValidator":false,"documentContentValidatorVersion":0},"elementsMetadata":[],"slideId":"637762067126820722","enableDocumentContentUpdater":true,"version":"1.3"}]]></TemplafySlideTemplateConfiguration>
</file>

<file path=customXml/item59.xml><?xml version="1.0" encoding="utf-8"?>
<TemplafySlideTemplateConfiguration><![CDATA[{"documentContentValidatorConfiguration":{"enableDocumentContentValidator":false,"documentContentValidatorVersion":0},"elementsMetadata":[],"slideId":"637762067124008207","enableDocumentContentUpdater":true,"version":"1.3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762067166196370","enableDocumentContentUpdater":true,"version":"1.3"}]]></TemplafySlideTemplateConfiguration>
</file>

<file path=customXml/item60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61.xml><?xml version="1.0" encoding="utf-8"?>
<TemplafySlideTemplateConfiguration><![CDATA[{"documentContentValidatorConfiguration":{"enableDocumentContentValidator":false,"documentContentValidatorVersion":0},"elementsMetadata":[],"slideId":"637762067103070587","enableDocumentContentUpdater":true,"version":"1.3"}]]></TemplafySlideTemplateConfiguration>
</file>

<file path=customXml/item62.xml><?xml version="1.0" encoding="utf-8"?>
<TemplafySlideFormConfiguration><![CDATA[{"formFields":[],"formDataEntries":[]}]]></TemplafySlideFormConfiguration>
</file>

<file path=customXml/item63.xml><?xml version="1.0" encoding="utf-8"?>
<TemplafyTemplateConfiguration><![CDATA[{"elementsMetadata":[{"type":"shape","id":"6b4eb5bb-f3f9-436d-82e5-9160af3f0761","elementConfiguration":{"binding":"UserProfile.Language.Copyright","disableUpdates":false,"type":"text"}},{"type":"shape","id":"548496ec-5b62-4b0f-a5c2-8ea27a412a8d","elementConfiguration":{"binding":"UserProfile.Language.PpAddress","disableUpdates":false,"type":"text"}},{"type":"shape","id":"c355fc18-50f0-4714-8d3f-9f411b616642","elementConfiguration":{"inheritDimensions":"inheritNone","width":"","height":"{{UserProfile.Logo.PpWidescreenLogoHeight}}","binding":"UserProfile.Logo.LogoNameWhite","disableUpdates":false,"type":"image"}},{"type":"shape","id":"374de12b-3ff6-4a74-aa6b-661b09cd67fd","elementConfiguration":{"binding":"UserProfile.Language.Copyright","disableUpdates":false,"type":"text"}},{"type":"shape","id":"1903abbb-32c9-479f-b46e-6926002dae9c","elementConfiguration":{"binding":"UserProfile.LegalEntity.AllDisclaimer","disableUpdates":false,"type":"text"}},{"type":"shape","id":"fb98a6d4-6808-473a-8d40-a0e35452f5dc","elementConfiguration":{"inheritDimensions":"inheritNone","width":"","height":"{{UserProfile.Logo.PpWidescreenLogoHeight}}","binding":"UserProfile.Logo.LogoNameWhite","disableUpdates":false,"type":"image"}},{"type":"shape","id":"d6ba4d5f-9a1f-4955-82d5-8e1860896621","elementConfiguration":{"inheritDimensions":"inheritNone","width":"","height":"{{UserProfile.Logo.PpWidescreenLogoHeight}}","binding":"UserProfile.Logo.LogoNameWhite","disableUpdates":false,"type":"image"}},{"type":"shape","id":"8e4f22c8-2009-455a-ab08-a990818ad696","elementConfiguration":{"inheritDimensions":"inheritNone","width":"","height":"{{UserProfile.Logo.PpWidescreenLogoHeight}}","binding":"UserProfile.Logo.LogoNameWhite","disableUpdates":false,"type":"image"}},{"type":"shape","id":"f2c09eb7-beb6-4d5e-9833-40dcc2f2e536","elementConfiguration":{"binding":"UserProfile.Language.PpAddress","disableUpdates":false,"type":"text"}},{"type":"shape","id":"e25108b5-666c-4e6a-945f-12ee294cde71","elementConfiguration":{"inheritDimensions":"inheritNone","width":"","height":"{{UserProfile.Logo.PpWidescreenLogoHeight}}","binding":"UserProfile.Logo.LogoNameWhite","disableUpdates":false,"type":"image"}},{"type":"shape","id":"ef7eeff8-ed7e-4e8f-9b6a-a01968e2fc1c","elementConfiguration":{"binding":"UserProfile.Language.PpAddress","disableUpdates":false,"type":"text"}},{"type":"shape","id":"299c360d-5b12-44bf-b1f5-39119d104f38","elementConfiguration":{"inheritDimensions":"inheritNone","width":"","height":"{{UserProfile.Logo.PpWidescreenLogoHeight}}","binding":"UserProfile.Logo.LogoNameWhite","disableUpdates":false,"type":"image"}},{"type":"shape","id":"6bd1edd4-2ed5-41a9-be55-c40c61efa266","elementConfiguration":{"binding":"UserProfile.Language.PpAddress","disableUpdates":false,"type":"text"}},{"type":"shape","id":"437329ae-f1b4-4585-8326-b256e1133b3c","elementConfiguration":{"inheritDimensions":"inheritNone","width":"","height":"{{UserProfile.Logo.PpWidescreenLogoHeight}}","binding":"UserProfile.Logo.LogoNameWhite","disableUpdates":false,"type":"image"}}],"transformationConfigurations":[],"templateName":"","templateDescription":"","enableDocumentContentUpdater":true,"version":"1.3"}]]></TemplafyTemplateConfiguration>
</file>

<file path=customXml/item64.xml><?xml version="1.0" encoding="utf-8"?>
<TemplafySlideTemplateConfiguration><![CDATA[{"documentContentValidatorConfiguration":{"enableDocumentContentValidator":false,"documentContentValidatorVersion":0},"elementsMetadata":[],"slideId":"637762067093070436","enableDocumentContentUpdater":true,"version":"1.3"}]]></TemplafySlideTemplateConfiguration>
</file>

<file path=customXml/item65.xml><?xml version="1.0" encoding="utf-8"?>
<TemplafySlideTemplateConfiguration><![CDATA[{"documentContentValidatorConfiguration":{"enableDocumentContentValidator":false,"documentContentValidatorVersion":0},"elementsMetadata":[],"slideId":"637762067105414426","enableDocumentContentUpdater":true,"version":"1.3"}]]></TemplafySlideTemplateConfiguration>
</file>

<file path=customXml/item66.xml><?xml version="1.0" encoding="utf-8"?>
<TemplafySlideTemplateConfiguration><![CDATA[{"documentContentValidatorConfiguration":{"enableDocumentContentValidator":false,"documentContentValidatorVersion":0},"elementsMetadata":[],"slideId":"637533952093174913","enableDocumentContentUpdater":true,"version":"1.3"}]]></TemplafySlideTemplateConfiguration>
</file>

<file path=customXml/item67.xml><?xml version="1.0" encoding="utf-8"?>
<TemplafySlideFormConfiguration><![CDATA[{"formFields":[],"formDataEntries":[]}]]></TemplafySlideFormConfiguration>
</file>

<file path=customXml/item68.xml><?xml version="1.0" encoding="utf-8"?>
<TemplafySlideFormConfiguration><![CDATA[{"formFields":[],"formDataEntries":[]}]]></TemplafySlideFormConfiguration>
</file>

<file path=customXml/item69.xml><?xml version="1.0" encoding="utf-8"?>
<TemplafySlideTemplateConfiguration><![CDATA[{"documentContentValidatorConfiguration":{"enableDocumentContentValidator":false,"documentContentValidatorVersion":0},"elementsMetadata":[],"slideId":"637533952096612531","enableDocumentContentUpdater":true,"version":"1.3"}]]></TemplafySlideTemplateConfiguration>
</file>

<file path=customXml/item7.xml><?xml version="1.0" encoding="utf-8"?>
<TemplafySlideFormConfiguration><![CDATA[{"formFields":[],"formDataEntries":[]}]]></TemplafySlideFormConfiguration>
</file>

<file path=customXml/item70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71.xml><?xml version="1.0" encoding="utf-8"?>
<TemplafySlideFormConfiguration><![CDATA[{"formFields":[],"formDataEntries":[]}]]></TemplafySlideFormConfiguration>
</file>

<file path=customXml/item72.xml><?xml version="1.0" encoding="utf-8"?>
<TemplafySlideTemplateConfiguration><![CDATA[{"documentContentValidatorConfiguration":{"enableDocumentContentValidator":false,"documentContentValidatorVersion":0},"elementsMetadata":[],"slideId":"637533952083643612","enableDocumentContentUpdater":true,"version":"1.3"}]]></TemplafySlideTemplateConfiguration>
</file>

<file path=customXml/item73.xml><?xml version="1.0" encoding="utf-8"?>
<TemplafySlideFormConfiguration><![CDATA[{"formFields":[],"formDataEntries":[]}]]></TemplafySlideFormConfiguration>
</file>

<file path=customXml/item74.xml><?xml version="1.0" encoding="utf-8"?>
<TemplafySlideFormConfiguration><![CDATA[{"formFields":[],"formDataEntries":[]}]]></TemplafySlideFormConfiguration>
</file>

<file path=customXml/item75.xml><?xml version="1.0" encoding="utf-8"?>
<TemplafySlideTemplateConfiguration><![CDATA[{"documentContentValidatorConfiguration":{"enableDocumentContentValidator":false,"documentContentValidatorVersion":0},"elementsMetadata":[],"slideId":"637762067107914441","enableDocumentContentUpdater":true,"version":"1.3"}]]></TemplafySlideTemplateConfiguration>
</file>

<file path=customXml/item76.xml><?xml version="1.0" encoding="utf-8"?>
<TemplafySlideFormConfiguration><![CDATA[{"formFields":[],"formDataEntries":[]}]]></TemplafySlideFormConfiguration>
</file>

<file path=customXml/item77.xml><?xml version="1.0" encoding="utf-8"?>
<TemplafySlideTemplateConfiguration><![CDATA[{"documentContentValidatorConfiguration":{"enableDocumentContentValidator":false,"documentContentValidatorVersion":0},"elementsMetadata":[],"slideId":"637533952193488547","enableDocumentContentUpdater":true,"version":"1.3"}]]></TemplafySlideTemplateConfiguration>
</file>

<file path=customXml/item78.xml><?xml version="1.0" encoding="utf-8"?>
<TemplafySlideFormConfiguration><![CDATA[{"formFields":[],"formDataEntries":[]}]]></TemplafySlideFormConfiguration>
</file>

<file path=customXml/item79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533952112862707","enableDocumentContentUpdater":true,"version":"1.3"}]]></TemplafySlideTemplateConfiguration>
</file>

<file path=customXml/item80.xml><?xml version="1.0" encoding="utf-8"?>
<TemplafySlideTemplateConfiguration><![CDATA[{"documentContentValidatorConfiguration":{"enableDocumentContentValidator":false,"documentContentValidatorVersion":0},"elementsMetadata":[],"slideId":"637762067138071020","enableDocumentContentUpdater":true,"version":"1.3"}]]></TemplafySlideTemplateConfiguration>
</file>

<file path=customXml/item81.xml><?xml version="1.0" encoding="utf-8"?>
<TemplafySlideTemplateConfiguration><![CDATA[{"documentContentValidatorConfiguration":{"enableDocumentContentValidator":false,"documentContentValidatorVersion":0},"elementsMetadata":[],"slideId":"637762067095883274","enableDocumentContentUpdater":true,"version":"1.3"}]]></TemplafySlideTemplateConfiguration>
</file>

<file path=customXml/item82.xml><?xml version="1.0" encoding="utf-8"?>
<TemplafySlideTemplateConfiguration><![CDATA[{"documentContentValidatorConfiguration":{"enableDocumentContentValidator":false,"documentContentValidatorVersion":0},"elementsMetadata":[],"slideId":"637762067089789110","enableDocumentContentUpdater":true,"version":"1.3"}]]></TemplafySlideTemplateConfiguration>
</file>

<file path=customXml/item83.xml><?xml version="1.0" encoding="utf-8"?>
<TemplafySlideFormConfiguration><![CDATA[{"formFields":[],"formDataEntries":[]}]]></TemplafySlideFormConfiguration>
</file>

<file path=customXml/item84.xml><?xml version="1.0" encoding="utf-8"?>
<TemplafySlideFormConfiguration><![CDATA[{"formFields":[],"formDataEntries":[]}]]></TemplafySlideFormConfiguration>
</file>

<file path=customXml/item85.xml><?xml version="1.0" encoding="utf-8"?>
<TemplafySlideTemplateConfiguration><![CDATA[{"documentContentValidatorConfiguration":{"enableDocumentContentValidator":false,"documentContentValidatorVersion":0},"elementsMetadata":[],"slideId":"637533952111456389","enableDocumentContentUpdater":true,"version":"1.3"}]]></TemplafySlideTemplateConfiguration>
</file>

<file path=customXml/item86.xml><?xml version="1.0" encoding="utf-8"?>
<TemplafySlideTemplateConfiguration><![CDATA[{"documentContentValidatorConfiguration":{"enableDocumentContentValidator":false,"documentContentValidatorVersion":0},"elementsMetadata":[],"slideId":"637533952202082302","enableDocumentContentUpdater":true,"version":"1.3"}]]></TemplafySlideTemplateConfiguration>
</file>

<file path=customXml/item87.xml><?xml version="1.0" encoding="utf-8"?>
<TemplafySlideTemplateConfiguration><![CDATA[{"documentContentValidatorConfiguration":{"enableDocumentContentValidator":false,"documentContentValidatorVersion":0},"elementsMetadata":[],"slideId":"637533952088174891","enableDocumentContentUpdater":true,"version":"1.3"}]]></TemplafySlideTemplateConfiguration>
</file>

<file path=customXml/item88.xml><?xml version="1.0" encoding="utf-8"?>
<TemplafySlideFormConfiguration><![CDATA[{"formFields":[],"formDataEntries":[]}]]></TemplafySlideFormConfiguration>
</file>

<file path=customXml/item89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90.xml><?xml version="1.0" encoding="utf-8"?>
<TemplafySlideFormConfiguration><![CDATA[{"formFields":[],"formDataEntries":[]}]]></TemplafySlideFormConfiguration>
</file>

<file path=customXml/item91.xml><?xml version="1.0" encoding="utf-8"?>
<TemplafySlideFormConfiguration><![CDATA[{"formFields":[],"formDataEntries":[]}]]></TemplafySlideFormConfiguration>
</file>

<file path=customXml/item9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6A684F50F9644ADA7186C7FA154E4" ma:contentTypeVersion="10" ma:contentTypeDescription="Create a new document." ma:contentTypeScope="" ma:versionID="cc57d18187ecb1871b96a5db83a1d82f">
  <xsd:schema xmlns:xsd="http://www.w3.org/2001/XMLSchema" xmlns:xs="http://www.w3.org/2001/XMLSchema" xmlns:p="http://schemas.microsoft.com/office/2006/metadata/properties" xmlns:ns2="adc6f7d2-2fd4-4c58-add3-50ea831b733c" xmlns:ns3="fe0e463f-46c1-4b5a-aeae-2e65b5901510" targetNamespace="http://schemas.microsoft.com/office/2006/metadata/properties" ma:root="true" ma:fieldsID="12f7fadcf5bd79961bd936c55ac87730" ns2:_="" ns3:_="">
    <xsd:import namespace="adc6f7d2-2fd4-4c58-add3-50ea831b733c"/>
    <xsd:import namespace="fe0e463f-46c1-4b5a-aeae-2e65b59015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6f7d2-2fd4-4c58-add3-50ea831b73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e463f-46c1-4b5a-aeae-2e65b59015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3.xml><?xml version="1.0" encoding="utf-8"?>
<TemplafySlideFormConfiguration><![CDATA[{"formFields":[],"formDataEntries":[]}]]></TemplafySlideFormConfiguration>
</file>

<file path=customXml/item94.xml><?xml version="1.0" encoding="utf-8"?>
<TemplafySlideFormConfiguration><![CDATA[{"formFields":[],"formDataEntries":[]}]]></TemplafySlideFormConfiguration>
</file>

<file path=customXml/item95.xml><?xml version="1.0" encoding="utf-8"?>
<TemplafySlideFormConfiguration><![CDATA[{"formFields":[],"formDataEntries":[]}]]></TemplafySlideFormConfiguration>
</file>

<file path=customXml/item96.xml><?xml version="1.0" encoding="utf-8"?>
<TemplafySlideFormConfiguration><![CDATA[{"formFields":[],"formDataEntries":[]}]]></TemplafySlideFormConfiguration>
</file>

<file path=customXml/item97.xml><?xml version="1.0" encoding="utf-8"?>
<TemplafySlideTemplateConfiguration><![CDATA[{"documentContentValidatorConfiguration":{"enableDocumentContentValidator":false,"documentContentValidatorVersion":0},"elementsMetadata":[],"slideId":"637762067117289531","enableDocumentContentUpdater":true,"version":"1.3"}]]></TemplafySlideTemplateConfiguration>
</file>

<file path=customXml/item98.xml><?xml version="1.0" encoding="utf-8"?>
<TemplafySlideFormConfiguration><![CDATA[{"formFields":[],"formDataEntries":[]}]]></TemplafySlideFormConfiguration>
</file>

<file path=customXml/item9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25186A64-F9DA-4979-A121-201B64E1F5F5}">
  <ds:schemaRefs/>
</ds:datastoreItem>
</file>

<file path=customXml/itemProps10.xml><?xml version="1.0" encoding="utf-8"?>
<ds:datastoreItem xmlns:ds="http://schemas.openxmlformats.org/officeDocument/2006/customXml" ds:itemID="{24C9A7DA-EB1B-4998-AA1F-564B065EE808}">
  <ds:schemaRefs/>
</ds:datastoreItem>
</file>

<file path=customXml/itemProps100.xml><?xml version="1.0" encoding="utf-8"?>
<ds:datastoreItem xmlns:ds="http://schemas.openxmlformats.org/officeDocument/2006/customXml" ds:itemID="{ACA921CC-8AAE-4EF9-AD14-E0143D6C21EE}">
  <ds:schemaRefs/>
</ds:datastoreItem>
</file>

<file path=customXml/itemProps101.xml><?xml version="1.0" encoding="utf-8"?>
<ds:datastoreItem xmlns:ds="http://schemas.openxmlformats.org/officeDocument/2006/customXml" ds:itemID="{270D19A3-93CC-4EB5-9BAC-C0FB5ECEDEB4}">
  <ds:schemaRefs/>
</ds:datastoreItem>
</file>

<file path=customXml/itemProps102.xml><?xml version="1.0" encoding="utf-8"?>
<ds:datastoreItem xmlns:ds="http://schemas.openxmlformats.org/officeDocument/2006/customXml" ds:itemID="{94500492-D94B-4E0A-A192-2A5AB6A23348}">
  <ds:schemaRefs/>
</ds:datastoreItem>
</file>

<file path=customXml/itemProps103.xml><?xml version="1.0" encoding="utf-8"?>
<ds:datastoreItem xmlns:ds="http://schemas.openxmlformats.org/officeDocument/2006/customXml" ds:itemID="{7574941E-DDF8-4614-B152-2670CB143A54}">
  <ds:schemaRefs/>
</ds:datastoreItem>
</file>

<file path=customXml/itemProps104.xml><?xml version="1.0" encoding="utf-8"?>
<ds:datastoreItem xmlns:ds="http://schemas.openxmlformats.org/officeDocument/2006/customXml" ds:itemID="{03ECE795-F275-48EE-AF40-ED769A5ECC48}">
  <ds:schemaRefs/>
</ds:datastoreItem>
</file>

<file path=customXml/itemProps105.xml><?xml version="1.0" encoding="utf-8"?>
<ds:datastoreItem xmlns:ds="http://schemas.openxmlformats.org/officeDocument/2006/customXml" ds:itemID="{A7FA7B05-7194-4D6E-8134-116A7285AFF8}">
  <ds:schemaRefs/>
</ds:datastoreItem>
</file>

<file path=customXml/itemProps106.xml><?xml version="1.0" encoding="utf-8"?>
<ds:datastoreItem xmlns:ds="http://schemas.openxmlformats.org/officeDocument/2006/customXml" ds:itemID="{234FEB30-1086-44FF-A835-02A31AA9C990}">
  <ds:schemaRefs/>
</ds:datastoreItem>
</file>

<file path=customXml/itemProps107.xml><?xml version="1.0" encoding="utf-8"?>
<ds:datastoreItem xmlns:ds="http://schemas.openxmlformats.org/officeDocument/2006/customXml" ds:itemID="{A2805E13-6D81-45EA-A56B-EC474663B636}">
  <ds:schemaRefs/>
</ds:datastoreItem>
</file>

<file path=customXml/itemProps108.xml><?xml version="1.0" encoding="utf-8"?>
<ds:datastoreItem xmlns:ds="http://schemas.openxmlformats.org/officeDocument/2006/customXml" ds:itemID="{E63427EC-8DDB-4F23-943A-C08F735A8D2A}">
  <ds:schemaRefs/>
</ds:datastoreItem>
</file>

<file path=customXml/itemProps109.xml><?xml version="1.0" encoding="utf-8"?>
<ds:datastoreItem xmlns:ds="http://schemas.openxmlformats.org/officeDocument/2006/customXml" ds:itemID="{86CF9D97-42D9-42D6-B5FE-83AEC9A58F10}">
  <ds:schemaRefs/>
</ds:datastoreItem>
</file>

<file path=customXml/itemProps11.xml><?xml version="1.0" encoding="utf-8"?>
<ds:datastoreItem xmlns:ds="http://schemas.openxmlformats.org/officeDocument/2006/customXml" ds:itemID="{D063B2B2-E223-4327-9102-A304F63E9593}">
  <ds:schemaRefs/>
</ds:datastoreItem>
</file>

<file path=customXml/itemProps110.xml><?xml version="1.0" encoding="utf-8"?>
<ds:datastoreItem xmlns:ds="http://schemas.openxmlformats.org/officeDocument/2006/customXml" ds:itemID="{18E2124C-5C82-4867-830B-C52CCE0F351E}">
  <ds:schemaRefs/>
</ds:datastoreItem>
</file>

<file path=customXml/itemProps111.xml><?xml version="1.0" encoding="utf-8"?>
<ds:datastoreItem xmlns:ds="http://schemas.openxmlformats.org/officeDocument/2006/customXml" ds:itemID="{38E82106-8794-48C0-B2CB-D453CBD651BA}">
  <ds:schemaRefs/>
</ds:datastoreItem>
</file>

<file path=customXml/itemProps112.xml><?xml version="1.0" encoding="utf-8"?>
<ds:datastoreItem xmlns:ds="http://schemas.openxmlformats.org/officeDocument/2006/customXml" ds:itemID="{6B897E69-6DF5-4DB5-A07F-B1BDCDA72D3A}">
  <ds:schemaRefs/>
</ds:datastoreItem>
</file>

<file path=customXml/itemProps113.xml><?xml version="1.0" encoding="utf-8"?>
<ds:datastoreItem xmlns:ds="http://schemas.openxmlformats.org/officeDocument/2006/customXml" ds:itemID="{C66062A9-ADA0-458B-9346-C20F4CCA2797}">
  <ds:schemaRefs/>
</ds:datastoreItem>
</file>

<file path=customXml/itemProps114.xml><?xml version="1.0" encoding="utf-8"?>
<ds:datastoreItem xmlns:ds="http://schemas.openxmlformats.org/officeDocument/2006/customXml" ds:itemID="{F9BA7BF6-499E-4E26-9C52-A81627B60099}">
  <ds:schemaRefs/>
</ds:datastoreItem>
</file>

<file path=customXml/itemProps115.xml><?xml version="1.0" encoding="utf-8"?>
<ds:datastoreItem xmlns:ds="http://schemas.openxmlformats.org/officeDocument/2006/customXml" ds:itemID="{38CA1151-20E2-4907-B7A4-21A46B96DF81}">
  <ds:schemaRefs/>
</ds:datastoreItem>
</file>

<file path=customXml/itemProps116.xml><?xml version="1.0" encoding="utf-8"?>
<ds:datastoreItem xmlns:ds="http://schemas.openxmlformats.org/officeDocument/2006/customXml" ds:itemID="{8A27D687-F3BE-4014-8B53-0052E0353938}">
  <ds:schemaRefs/>
</ds:datastoreItem>
</file>

<file path=customXml/itemProps117.xml><?xml version="1.0" encoding="utf-8"?>
<ds:datastoreItem xmlns:ds="http://schemas.openxmlformats.org/officeDocument/2006/customXml" ds:itemID="{7AD88C2D-0251-4B39-8E51-EF701DE840E2}">
  <ds:schemaRefs/>
</ds:datastoreItem>
</file>

<file path=customXml/itemProps118.xml><?xml version="1.0" encoding="utf-8"?>
<ds:datastoreItem xmlns:ds="http://schemas.openxmlformats.org/officeDocument/2006/customXml" ds:itemID="{89240550-34F1-4789-9F33-4ECB4F3FE8B8}">
  <ds:schemaRefs/>
</ds:datastoreItem>
</file>

<file path=customXml/itemProps119.xml><?xml version="1.0" encoding="utf-8"?>
<ds:datastoreItem xmlns:ds="http://schemas.openxmlformats.org/officeDocument/2006/customXml" ds:itemID="{63FA132A-EA02-4A92-9D4E-0DBDD4438943}">
  <ds:schemaRefs/>
</ds:datastoreItem>
</file>

<file path=customXml/itemProps12.xml><?xml version="1.0" encoding="utf-8"?>
<ds:datastoreItem xmlns:ds="http://schemas.openxmlformats.org/officeDocument/2006/customXml" ds:itemID="{DCC56357-06BA-46A0-9D9D-B00606522FC1}">
  <ds:schemaRefs/>
</ds:datastoreItem>
</file>

<file path=customXml/itemProps120.xml><?xml version="1.0" encoding="utf-8"?>
<ds:datastoreItem xmlns:ds="http://schemas.openxmlformats.org/officeDocument/2006/customXml" ds:itemID="{796A4759-252F-4457-8556-ED64A9E75C6D}">
  <ds:schemaRefs/>
</ds:datastoreItem>
</file>

<file path=customXml/itemProps121.xml><?xml version="1.0" encoding="utf-8"?>
<ds:datastoreItem xmlns:ds="http://schemas.openxmlformats.org/officeDocument/2006/customXml" ds:itemID="{CB7CEE1D-FD6A-409E-BE05-E0D6BE542E19}">
  <ds:schemaRefs/>
</ds:datastoreItem>
</file>

<file path=customXml/itemProps122.xml><?xml version="1.0" encoding="utf-8"?>
<ds:datastoreItem xmlns:ds="http://schemas.openxmlformats.org/officeDocument/2006/customXml" ds:itemID="{FC8CE25F-B98D-4501-A47D-6A31B1370EEB}">
  <ds:schemaRefs/>
</ds:datastoreItem>
</file>

<file path=customXml/itemProps123.xml><?xml version="1.0" encoding="utf-8"?>
<ds:datastoreItem xmlns:ds="http://schemas.openxmlformats.org/officeDocument/2006/customXml" ds:itemID="{BD36B2B2-6211-4DF6-8D47-7F68E055B062}">
  <ds:schemaRefs/>
</ds:datastoreItem>
</file>

<file path=customXml/itemProps124.xml><?xml version="1.0" encoding="utf-8"?>
<ds:datastoreItem xmlns:ds="http://schemas.openxmlformats.org/officeDocument/2006/customXml" ds:itemID="{3B027550-B45B-4858-A368-E75DF80A285C}">
  <ds:schemaRefs/>
</ds:datastoreItem>
</file>

<file path=customXml/itemProps125.xml><?xml version="1.0" encoding="utf-8"?>
<ds:datastoreItem xmlns:ds="http://schemas.openxmlformats.org/officeDocument/2006/customXml" ds:itemID="{9741EF48-2868-4E32-9643-25E5FDF6BD2F}">
  <ds:schemaRefs/>
</ds:datastoreItem>
</file>

<file path=customXml/itemProps126.xml><?xml version="1.0" encoding="utf-8"?>
<ds:datastoreItem xmlns:ds="http://schemas.openxmlformats.org/officeDocument/2006/customXml" ds:itemID="{E505D905-BF9F-4963-B49C-50B185140163}">
  <ds:schemaRefs/>
</ds:datastoreItem>
</file>

<file path=customXml/itemProps127.xml><?xml version="1.0" encoding="utf-8"?>
<ds:datastoreItem xmlns:ds="http://schemas.openxmlformats.org/officeDocument/2006/customXml" ds:itemID="{8716A50A-FD2F-4C0F-9D7E-5FCEADDE0CE5}">
  <ds:schemaRefs/>
</ds:datastoreItem>
</file>

<file path=customXml/itemProps128.xml><?xml version="1.0" encoding="utf-8"?>
<ds:datastoreItem xmlns:ds="http://schemas.openxmlformats.org/officeDocument/2006/customXml" ds:itemID="{593F52B6-FB54-425D-9993-C56B3D51712A}">
  <ds:schemaRefs/>
</ds:datastoreItem>
</file>

<file path=customXml/itemProps129.xml><?xml version="1.0" encoding="utf-8"?>
<ds:datastoreItem xmlns:ds="http://schemas.openxmlformats.org/officeDocument/2006/customXml" ds:itemID="{53F0A8FD-4EF8-4D3A-95E3-17C34FD8238F}">
  <ds:schemaRefs/>
</ds:datastoreItem>
</file>

<file path=customXml/itemProps13.xml><?xml version="1.0" encoding="utf-8"?>
<ds:datastoreItem xmlns:ds="http://schemas.openxmlformats.org/officeDocument/2006/customXml" ds:itemID="{7507350F-6DE0-4FD3-A98D-AE51E2A62587}">
  <ds:schemaRefs/>
</ds:datastoreItem>
</file>

<file path=customXml/itemProps130.xml><?xml version="1.0" encoding="utf-8"?>
<ds:datastoreItem xmlns:ds="http://schemas.openxmlformats.org/officeDocument/2006/customXml" ds:itemID="{F54C399C-507D-4880-AE4F-EF7649CEC55C}">
  <ds:schemaRefs/>
</ds:datastoreItem>
</file>

<file path=customXml/itemProps131.xml><?xml version="1.0" encoding="utf-8"?>
<ds:datastoreItem xmlns:ds="http://schemas.openxmlformats.org/officeDocument/2006/customXml" ds:itemID="{D8CEA972-C98A-4DD8-B2BF-58AE08418FFE}">
  <ds:schemaRefs/>
</ds:datastoreItem>
</file>

<file path=customXml/itemProps132.xml><?xml version="1.0" encoding="utf-8"?>
<ds:datastoreItem xmlns:ds="http://schemas.openxmlformats.org/officeDocument/2006/customXml" ds:itemID="{73CF4728-E58D-49FB-ADC0-7392D7F4CFD7}">
  <ds:schemaRefs/>
</ds:datastoreItem>
</file>

<file path=customXml/itemProps133.xml><?xml version="1.0" encoding="utf-8"?>
<ds:datastoreItem xmlns:ds="http://schemas.openxmlformats.org/officeDocument/2006/customXml" ds:itemID="{502BC1CF-07AF-40AF-8943-B172F5758D4C}">
  <ds:schemaRefs/>
</ds:datastoreItem>
</file>

<file path=customXml/itemProps134.xml><?xml version="1.0" encoding="utf-8"?>
<ds:datastoreItem xmlns:ds="http://schemas.openxmlformats.org/officeDocument/2006/customXml" ds:itemID="{1BC51245-E446-4DD0-9321-46B0F785DAB5}">
  <ds:schemaRefs/>
</ds:datastoreItem>
</file>

<file path=customXml/itemProps135.xml><?xml version="1.0" encoding="utf-8"?>
<ds:datastoreItem xmlns:ds="http://schemas.openxmlformats.org/officeDocument/2006/customXml" ds:itemID="{54AC76E9-9E20-408A-AA05-E797296DB174}">
  <ds:schemaRefs/>
</ds:datastoreItem>
</file>

<file path=customXml/itemProps136.xml><?xml version="1.0" encoding="utf-8"?>
<ds:datastoreItem xmlns:ds="http://schemas.openxmlformats.org/officeDocument/2006/customXml" ds:itemID="{4EE6CF20-F975-4CA2-9B08-BF99E1E1AE41}">
  <ds:schemaRefs/>
</ds:datastoreItem>
</file>

<file path=customXml/itemProps137.xml><?xml version="1.0" encoding="utf-8"?>
<ds:datastoreItem xmlns:ds="http://schemas.openxmlformats.org/officeDocument/2006/customXml" ds:itemID="{FB30CB89-38F4-4D25-ADC3-353D2126A134}">
  <ds:schemaRefs/>
</ds:datastoreItem>
</file>

<file path=customXml/itemProps138.xml><?xml version="1.0" encoding="utf-8"?>
<ds:datastoreItem xmlns:ds="http://schemas.openxmlformats.org/officeDocument/2006/customXml" ds:itemID="{FAFEC6D0-CAD4-41BD-8FEC-DC55585E0F7E}">
  <ds:schemaRefs/>
</ds:datastoreItem>
</file>

<file path=customXml/itemProps139.xml><?xml version="1.0" encoding="utf-8"?>
<ds:datastoreItem xmlns:ds="http://schemas.openxmlformats.org/officeDocument/2006/customXml" ds:itemID="{AB35E3CC-60F0-4D39-BF40-F56E152164A8}">
  <ds:schemaRefs/>
</ds:datastoreItem>
</file>

<file path=customXml/itemProps14.xml><?xml version="1.0" encoding="utf-8"?>
<ds:datastoreItem xmlns:ds="http://schemas.openxmlformats.org/officeDocument/2006/customXml" ds:itemID="{EA815040-6CEA-4EBB-9C92-5860E50E6614}">
  <ds:schemaRefs/>
</ds:datastoreItem>
</file>

<file path=customXml/itemProps140.xml><?xml version="1.0" encoding="utf-8"?>
<ds:datastoreItem xmlns:ds="http://schemas.openxmlformats.org/officeDocument/2006/customXml" ds:itemID="{4E87A85D-371E-4494-8864-0A3A4EE05A2A}">
  <ds:schemaRefs/>
</ds:datastoreItem>
</file>

<file path=customXml/itemProps141.xml><?xml version="1.0" encoding="utf-8"?>
<ds:datastoreItem xmlns:ds="http://schemas.openxmlformats.org/officeDocument/2006/customXml" ds:itemID="{C731C1E1-21E0-4066-A286-4F0EB76E5FF6}">
  <ds:schemaRefs/>
</ds:datastoreItem>
</file>

<file path=customXml/itemProps142.xml><?xml version="1.0" encoding="utf-8"?>
<ds:datastoreItem xmlns:ds="http://schemas.openxmlformats.org/officeDocument/2006/customXml" ds:itemID="{B3ED805B-9D4F-4402-B116-687D91B07927}">
  <ds:schemaRefs/>
</ds:datastoreItem>
</file>

<file path=customXml/itemProps143.xml><?xml version="1.0" encoding="utf-8"?>
<ds:datastoreItem xmlns:ds="http://schemas.openxmlformats.org/officeDocument/2006/customXml" ds:itemID="{25A4E66C-C88E-4C7B-B9E2-A9FB036C8421}">
  <ds:schemaRefs/>
</ds:datastoreItem>
</file>

<file path=customXml/itemProps144.xml><?xml version="1.0" encoding="utf-8"?>
<ds:datastoreItem xmlns:ds="http://schemas.openxmlformats.org/officeDocument/2006/customXml" ds:itemID="{D7AAAEB0-5CA5-4B71-8C06-F74B151B8A91}">
  <ds:schemaRefs/>
</ds:datastoreItem>
</file>

<file path=customXml/itemProps145.xml><?xml version="1.0" encoding="utf-8"?>
<ds:datastoreItem xmlns:ds="http://schemas.openxmlformats.org/officeDocument/2006/customXml" ds:itemID="{87FC47DE-8814-4134-BADF-BCBBE69D9510}">
  <ds:schemaRefs/>
</ds:datastoreItem>
</file>

<file path=customXml/itemProps146.xml><?xml version="1.0" encoding="utf-8"?>
<ds:datastoreItem xmlns:ds="http://schemas.openxmlformats.org/officeDocument/2006/customXml" ds:itemID="{8FCBCA3B-76A5-4489-8003-BF9B48DAAE84}">
  <ds:schemaRefs/>
</ds:datastoreItem>
</file>

<file path=customXml/itemProps147.xml><?xml version="1.0" encoding="utf-8"?>
<ds:datastoreItem xmlns:ds="http://schemas.openxmlformats.org/officeDocument/2006/customXml" ds:itemID="{963D2830-F1C5-4EB3-BDEC-4D254D720785}">
  <ds:schemaRefs/>
</ds:datastoreItem>
</file>

<file path=customXml/itemProps148.xml><?xml version="1.0" encoding="utf-8"?>
<ds:datastoreItem xmlns:ds="http://schemas.openxmlformats.org/officeDocument/2006/customXml" ds:itemID="{4CC76ADE-5FAE-4B2E-9DE6-5D5F48EA399B}">
  <ds:schemaRefs/>
</ds:datastoreItem>
</file>

<file path=customXml/itemProps149.xml><?xml version="1.0" encoding="utf-8"?>
<ds:datastoreItem xmlns:ds="http://schemas.openxmlformats.org/officeDocument/2006/customXml" ds:itemID="{9D27C311-3F28-47DD-958C-209C5ACB5963}">
  <ds:schemaRefs/>
</ds:datastoreItem>
</file>

<file path=customXml/itemProps15.xml><?xml version="1.0" encoding="utf-8"?>
<ds:datastoreItem xmlns:ds="http://schemas.openxmlformats.org/officeDocument/2006/customXml" ds:itemID="{E7A0EE79-94B4-451C-9148-0F7B35721DB6}">
  <ds:schemaRefs/>
</ds:datastoreItem>
</file>

<file path=customXml/itemProps150.xml><?xml version="1.0" encoding="utf-8"?>
<ds:datastoreItem xmlns:ds="http://schemas.openxmlformats.org/officeDocument/2006/customXml" ds:itemID="{C03F1F79-4608-47BC-9A14-54CD6ACB84B5}">
  <ds:schemaRefs/>
</ds:datastoreItem>
</file>

<file path=customXml/itemProps151.xml><?xml version="1.0" encoding="utf-8"?>
<ds:datastoreItem xmlns:ds="http://schemas.openxmlformats.org/officeDocument/2006/customXml" ds:itemID="{AE171241-2222-433A-ABDF-D00A95ED3AEB}">
  <ds:schemaRefs/>
</ds:datastoreItem>
</file>

<file path=customXml/itemProps152.xml><?xml version="1.0" encoding="utf-8"?>
<ds:datastoreItem xmlns:ds="http://schemas.openxmlformats.org/officeDocument/2006/customXml" ds:itemID="{78F12774-3A83-4359-B482-4F9E2B26DAFC}">
  <ds:schemaRefs/>
</ds:datastoreItem>
</file>

<file path=customXml/itemProps153.xml><?xml version="1.0" encoding="utf-8"?>
<ds:datastoreItem xmlns:ds="http://schemas.openxmlformats.org/officeDocument/2006/customXml" ds:itemID="{92971D2B-F260-4094-8768-18FC446B708F}">
  <ds:schemaRefs/>
</ds:datastoreItem>
</file>

<file path=customXml/itemProps154.xml><?xml version="1.0" encoding="utf-8"?>
<ds:datastoreItem xmlns:ds="http://schemas.openxmlformats.org/officeDocument/2006/customXml" ds:itemID="{5588A58E-66ED-4E8C-A490-7F5949A9F0AD}">
  <ds:schemaRefs/>
</ds:datastoreItem>
</file>

<file path=customXml/itemProps155.xml><?xml version="1.0" encoding="utf-8"?>
<ds:datastoreItem xmlns:ds="http://schemas.openxmlformats.org/officeDocument/2006/customXml" ds:itemID="{B7DF6318-68BB-4F5B-9D9F-297BD67CEE4B}">
  <ds:schemaRefs/>
</ds:datastoreItem>
</file>

<file path=customXml/itemProps156.xml><?xml version="1.0" encoding="utf-8"?>
<ds:datastoreItem xmlns:ds="http://schemas.openxmlformats.org/officeDocument/2006/customXml" ds:itemID="{400D376A-4F6B-4F2D-A3CC-8F58BC7A69EC}">
  <ds:schemaRefs/>
</ds:datastoreItem>
</file>

<file path=customXml/itemProps157.xml><?xml version="1.0" encoding="utf-8"?>
<ds:datastoreItem xmlns:ds="http://schemas.openxmlformats.org/officeDocument/2006/customXml" ds:itemID="{2E30EFBC-3B21-4142-B143-EFE2551846A8}">
  <ds:schemaRefs/>
</ds:datastoreItem>
</file>

<file path=customXml/itemProps158.xml><?xml version="1.0" encoding="utf-8"?>
<ds:datastoreItem xmlns:ds="http://schemas.openxmlformats.org/officeDocument/2006/customXml" ds:itemID="{D1836D98-19EC-4BB6-B188-A6A226151B1B}">
  <ds:schemaRefs/>
</ds:datastoreItem>
</file>

<file path=customXml/itemProps159.xml><?xml version="1.0" encoding="utf-8"?>
<ds:datastoreItem xmlns:ds="http://schemas.openxmlformats.org/officeDocument/2006/customXml" ds:itemID="{88565BC9-1CB9-42AD-9ED5-F9ACB1DA13F3}">
  <ds:schemaRefs/>
</ds:datastoreItem>
</file>

<file path=customXml/itemProps16.xml><?xml version="1.0" encoding="utf-8"?>
<ds:datastoreItem xmlns:ds="http://schemas.openxmlformats.org/officeDocument/2006/customXml" ds:itemID="{EE03E26C-AD83-4D7E-A873-C84DEB421ECE}">
  <ds:schemaRefs/>
</ds:datastoreItem>
</file>

<file path=customXml/itemProps160.xml><?xml version="1.0" encoding="utf-8"?>
<ds:datastoreItem xmlns:ds="http://schemas.openxmlformats.org/officeDocument/2006/customXml" ds:itemID="{1137EE4D-2D9D-4B1C-AC73-C89E7B8FC019}">
  <ds:schemaRefs/>
</ds:datastoreItem>
</file>

<file path=customXml/itemProps161.xml><?xml version="1.0" encoding="utf-8"?>
<ds:datastoreItem xmlns:ds="http://schemas.openxmlformats.org/officeDocument/2006/customXml" ds:itemID="{01DBFE9B-FA06-4387-A80D-DDE2EF74061D}">
  <ds:schemaRefs/>
</ds:datastoreItem>
</file>

<file path=customXml/itemProps162.xml><?xml version="1.0" encoding="utf-8"?>
<ds:datastoreItem xmlns:ds="http://schemas.openxmlformats.org/officeDocument/2006/customXml" ds:itemID="{4059BAD3-B0EF-4692-AFCF-05352B4E848E}">
  <ds:schemaRefs/>
</ds:datastoreItem>
</file>

<file path=customXml/itemProps163.xml><?xml version="1.0" encoding="utf-8"?>
<ds:datastoreItem xmlns:ds="http://schemas.openxmlformats.org/officeDocument/2006/customXml" ds:itemID="{3D78C8BA-23BC-4670-9409-52354014AEBF}">
  <ds:schemaRefs/>
</ds:datastoreItem>
</file>

<file path=customXml/itemProps164.xml><?xml version="1.0" encoding="utf-8"?>
<ds:datastoreItem xmlns:ds="http://schemas.openxmlformats.org/officeDocument/2006/customXml" ds:itemID="{40DF2734-4184-4D4A-ABD8-85649B0D7E41}">
  <ds:schemaRefs/>
</ds:datastoreItem>
</file>

<file path=customXml/itemProps165.xml><?xml version="1.0" encoding="utf-8"?>
<ds:datastoreItem xmlns:ds="http://schemas.openxmlformats.org/officeDocument/2006/customXml" ds:itemID="{4998EAF6-F45A-4950-92A0-CDCC6BE6648F}">
  <ds:schemaRefs/>
</ds:datastoreItem>
</file>

<file path=customXml/itemProps166.xml><?xml version="1.0" encoding="utf-8"?>
<ds:datastoreItem xmlns:ds="http://schemas.openxmlformats.org/officeDocument/2006/customXml" ds:itemID="{C3865797-0CB5-4F2C-9425-597E569E8263}">
  <ds:schemaRefs/>
</ds:datastoreItem>
</file>

<file path=customXml/itemProps167.xml><?xml version="1.0" encoding="utf-8"?>
<ds:datastoreItem xmlns:ds="http://schemas.openxmlformats.org/officeDocument/2006/customXml" ds:itemID="{1855A540-559A-4508-B662-F394CA896770}">
  <ds:schemaRefs/>
</ds:datastoreItem>
</file>

<file path=customXml/itemProps168.xml><?xml version="1.0" encoding="utf-8"?>
<ds:datastoreItem xmlns:ds="http://schemas.openxmlformats.org/officeDocument/2006/customXml" ds:itemID="{EE6699E1-A61F-4335-9065-30D78EFDE9FA}">
  <ds:schemaRefs/>
</ds:datastoreItem>
</file>

<file path=customXml/itemProps169.xml><?xml version="1.0" encoding="utf-8"?>
<ds:datastoreItem xmlns:ds="http://schemas.openxmlformats.org/officeDocument/2006/customXml" ds:itemID="{5362DAE0-5864-40B0-ADE9-CF3DB86FA0B7}">
  <ds:schemaRefs/>
</ds:datastoreItem>
</file>

<file path=customXml/itemProps17.xml><?xml version="1.0" encoding="utf-8"?>
<ds:datastoreItem xmlns:ds="http://schemas.openxmlformats.org/officeDocument/2006/customXml" ds:itemID="{6485B0CF-FBA6-445D-9465-23D87DD6B3DC}">
  <ds:schemaRefs/>
</ds:datastoreItem>
</file>

<file path=customXml/itemProps170.xml><?xml version="1.0" encoding="utf-8"?>
<ds:datastoreItem xmlns:ds="http://schemas.openxmlformats.org/officeDocument/2006/customXml" ds:itemID="{20719FA8-2EED-4BFE-B944-9D9BB7AAB17E}">
  <ds:schemaRefs/>
</ds:datastoreItem>
</file>

<file path=customXml/itemProps171.xml><?xml version="1.0" encoding="utf-8"?>
<ds:datastoreItem xmlns:ds="http://schemas.openxmlformats.org/officeDocument/2006/customXml" ds:itemID="{C7C53604-6C01-4245-B25F-DEC96972FA23}">
  <ds:schemaRefs/>
</ds:datastoreItem>
</file>

<file path=customXml/itemProps172.xml><?xml version="1.0" encoding="utf-8"?>
<ds:datastoreItem xmlns:ds="http://schemas.openxmlformats.org/officeDocument/2006/customXml" ds:itemID="{18980400-F3A1-48EB-8C8D-16A25E898D4A}">
  <ds:schemaRefs/>
</ds:datastoreItem>
</file>

<file path=customXml/itemProps173.xml><?xml version="1.0" encoding="utf-8"?>
<ds:datastoreItem xmlns:ds="http://schemas.openxmlformats.org/officeDocument/2006/customXml" ds:itemID="{49AF8713-EAF3-4D11-B582-CD6F3AD73C2C}">
  <ds:schemaRefs/>
</ds:datastoreItem>
</file>

<file path=customXml/itemProps174.xml><?xml version="1.0" encoding="utf-8"?>
<ds:datastoreItem xmlns:ds="http://schemas.openxmlformats.org/officeDocument/2006/customXml" ds:itemID="{1B78DD35-DE3B-4171-9CE5-3806498C1435}">
  <ds:schemaRefs/>
</ds:datastoreItem>
</file>

<file path=customXml/itemProps175.xml><?xml version="1.0" encoding="utf-8"?>
<ds:datastoreItem xmlns:ds="http://schemas.openxmlformats.org/officeDocument/2006/customXml" ds:itemID="{D36960E0-0046-43E9-AC1E-7CB2E4073ADE}">
  <ds:schemaRefs/>
</ds:datastoreItem>
</file>

<file path=customXml/itemProps176.xml><?xml version="1.0" encoding="utf-8"?>
<ds:datastoreItem xmlns:ds="http://schemas.openxmlformats.org/officeDocument/2006/customXml" ds:itemID="{0E8DEB46-7DC3-41FA-8114-1779CC7D939F}">
  <ds:schemaRefs/>
</ds:datastoreItem>
</file>

<file path=customXml/itemProps177.xml><?xml version="1.0" encoding="utf-8"?>
<ds:datastoreItem xmlns:ds="http://schemas.openxmlformats.org/officeDocument/2006/customXml" ds:itemID="{F475E019-77B6-453B-BCB1-F443604B74BA}">
  <ds:schemaRefs/>
</ds:datastoreItem>
</file>

<file path=customXml/itemProps178.xml><?xml version="1.0" encoding="utf-8"?>
<ds:datastoreItem xmlns:ds="http://schemas.openxmlformats.org/officeDocument/2006/customXml" ds:itemID="{265BBBDD-1FC7-4F66-ADB0-EB2BF655CBD6}">
  <ds:schemaRefs/>
</ds:datastoreItem>
</file>

<file path=customXml/itemProps179.xml><?xml version="1.0" encoding="utf-8"?>
<ds:datastoreItem xmlns:ds="http://schemas.openxmlformats.org/officeDocument/2006/customXml" ds:itemID="{D5A7AE9A-4581-4BFF-9062-52F9285083B7}">
  <ds:schemaRefs/>
</ds:datastoreItem>
</file>

<file path=customXml/itemProps18.xml><?xml version="1.0" encoding="utf-8"?>
<ds:datastoreItem xmlns:ds="http://schemas.openxmlformats.org/officeDocument/2006/customXml" ds:itemID="{5DFC3EA8-EBA1-40AC-A627-4261E1261305}">
  <ds:schemaRefs/>
</ds:datastoreItem>
</file>

<file path=customXml/itemProps180.xml><?xml version="1.0" encoding="utf-8"?>
<ds:datastoreItem xmlns:ds="http://schemas.openxmlformats.org/officeDocument/2006/customXml" ds:itemID="{62C695D4-20F0-4028-BF70-C0ABEE423FB1}">
  <ds:schemaRefs/>
</ds:datastoreItem>
</file>

<file path=customXml/itemProps181.xml><?xml version="1.0" encoding="utf-8"?>
<ds:datastoreItem xmlns:ds="http://schemas.openxmlformats.org/officeDocument/2006/customXml" ds:itemID="{B97B566B-E7F9-4B91-8109-76C872D198D8}">
  <ds:schemaRefs/>
</ds:datastoreItem>
</file>

<file path=customXml/itemProps182.xml><?xml version="1.0" encoding="utf-8"?>
<ds:datastoreItem xmlns:ds="http://schemas.openxmlformats.org/officeDocument/2006/customXml" ds:itemID="{5828B234-FF30-4069-9F42-32AEC23290E8}">
  <ds:schemaRefs/>
</ds:datastoreItem>
</file>

<file path=customXml/itemProps183.xml><?xml version="1.0" encoding="utf-8"?>
<ds:datastoreItem xmlns:ds="http://schemas.openxmlformats.org/officeDocument/2006/customXml" ds:itemID="{CB0D5046-AC20-479B-B474-222279D896FF}">
  <ds:schemaRefs/>
</ds:datastoreItem>
</file>

<file path=customXml/itemProps184.xml><?xml version="1.0" encoding="utf-8"?>
<ds:datastoreItem xmlns:ds="http://schemas.openxmlformats.org/officeDocument/2006/customXml" ds:itemID="{B820AC7E-4BDA-4442-904A-E3B0D93DA889}">
  <ds:schemaRefs/>
</ds:datastoreItem>
</file>

<file path=customXml/itemProps185.xml><?xml version="1.0" encoding="utf-8"?>
<ds:datastoreItem xmlns:ds="http://schemas.openxmlformats.org/officeDocument/2006/customXml" ds:itemID="{15D6320E-6BEE-4863-8680-951EC9E22A14}">
  <ds:schemaRefs/>
</ds:datastoreItem>
</file>

<file path=customXml/itemProps186.xml><?xml version="1.0" encoding="utf-8"?>
<ds:datastoreItem xmlns:ds="http://schemas.openxmlformats.org/officeDocument/2006/customXml" ds:itemID="{4C452775-9336-4E6C-AC18-EE1429273BD4}">
  <ds:schemaRefs/>
</ds:datastoreItem>
</file>

<file path=customXml/itemProps187.xml><?xml version="1.0" encoding="utf-8"?>
<ds:datastoreItem xmlns:ds="http://schemas.openxmlformats.org/officeDocument/2006/customXml" ds:itemID="{EE8BB313-0E8B-4E13-AE10-1DC2223D0312}">
  <ds:schemaRefs/>
</ds:datastoreItem>
</file>

<file path=customXml/itemProps188.xml><?xml version="1.0" encoding="utf-8"?>
<ds:datastoreItem xmlns:ds="http://schemas.openxmlformats.org/officeDocument/2006/customXml" ds:itemID="{DB8BCDC7-2E10-48F8-B544-F1BA544862B5}">
  <ds:schemaRefs/>
</ds:datastoreItem>
</file>

<file path=customXml/itemProps189.xml><?xml version="1.0" encoding="utf-8"?>
<ds:datastoreItem xmlns:ds="http://schemas.openxmlformats.org/officeDocument/2006/customXml" ds:itemID="{2CACD46F-9344-4F99-A546-3D1B8A4EA6BF}">
  <ds:schemaRefs/>
</ds:datastoreItem>
</file>

<file path=customXml/itemProps19.xml><?xml version="1.0" encoding="utf-8"?>
<ds:datastoreItem xmlns:ds="http://schemas.openxmlformats.org/officeDocument/2006/customXml" ds:itemID="{A14F96A3-D624-4220-A1FB-6A180D3BD9B8}">
  <ds:schemaRefs/>
</ds:datastoreItem>
</file>

<file path=customXml/itemProps190.xml><?xml version="1.0" encoding="utf-8"?>
<ds:datastoreItem xmlns:ds="http://schemas.openxmlformats.org/officeDocument/2006/customXml" ds:itemID="{A1318CE3-4D21-4493-80F7-E1C74F9AD355}">
  <ds:schemaRefs/>
</ds:datastoreItem>
</file>

<file path=customXml/itemProps191.xml><?xml version="1.0" encoding="utf-8"?>
<ds:datastoreItem xmlns:ds="http://schemas.openxmlformats.org/officeDocument/2006/customXml" ds:itemID="{2A671F75-9C4C-442C-91FD-10F4A350959B}">
  <ds:schemaRefs/>
</ds:datastoreItem>
</file>

<file path=customXml/itemProps192.xml><?xml version="1.0" encoding="utf-8"?>
<ds:datastoreItem xmlns:ds="http://schemas.openxmlformats.org/officeDocument/2006/customXml" ds:itemID="{60956EF7-32B8-483C-ACD8-70A478FCE504}">
  <ds:schemaRefs/>
</ds:datastoreItem>
</file>

<file path=customXml/itemProps193.xml><?xml version="1.0" encoding="utf-8"?>
<ds:datastoreItem xmlns:ds="http://schemas.openxmlformats.org/officeDocument/2006/customXml" ds:itemID="{7E5BC36F-9539-4084-A331-E0CBDBB242A9}">
  <ds:schemaRefs/>
</ds:datastoreItem>
</file>

<file path=customXml/itemProps194.xml><?xml version="1.0" encoding="utf-8"?>
<ds:datastoreItem xmlns:ds="http://schemas.openxmlformats.org/officeDocument/2006/customXml" ds:itemID="{2A2335BD-ACC3-46C2-8B7B-ED088EB23190}">
  <ds:schemaRefs/>
</ds:datastoreItem>
</file>

<file path=customXml/itemProps195.xml><?xml version="1.0" encoding="utf-8"?>
<ds:datastoreItem xmlns:ds="http://schemas.openxmlformats.org/officeDocument/2006/customXml" ds:itemID="{72D8B68F-8CC1-4558-AE24-1162BE7F677B}">
  <ds:schemaRefs/>
</ds:datastoreItem>
</file>

<file path=customXml/itemProps196.xml><?xml version="1.0" encoding="utf-8"?>
<ds:datastoreItem xmlns:ds="http://schemas.openxmlformats.org/officeDocument/2006/customXml" ds:itemID="{62912A4A-01F5-4380-9769-A16370FCA99A}">
  <ds:schemaRefs/>
</ds:datastoreItem>
</file>

<file path=customXml/itemProps197.xml><?xml version="1.0" encoding="utf-8"?>
<ds:datastoreItem xmlns:ds="http://schemas.openxmlformats.org/officeDocument/2006/customXml" ds:itemID="{6BE342DA-36DD-44E9-BD65-43277262C777}">
  <ds:schemaRefs/>
</ds:datastoreItem>
</file>

<file path=customXml/itemProps198.xml><?xml version="1.0" encoding="utf-8"?>
<ds:datastoreItem xmlns:ds="http://schemas.openxmlformats.org/officeDocument/2006/customXml" ds:itemID="{3241B78B-DE1A-4009-8B84-5BD6D5E288FA}">
  <ds:schemaRefs/>
</ds:datastoreItem>
</file>

<file path=customXml/itemProps199.xml><?xml version="1.0" encoding="utf-8"?>
<ds:datastoreItem xmlns:ds="http://schemas.openxmlformats.org/officeDocument/2006/customXml" ds:itemID="{2CF996EB-08BB-4876-8AB0-AACBADD6F26C}">
  <ds:schemaRefs/>
</ds:datastoreItem>
</file>

<file path=customXml/itemProps2.xml><?xml version="1.0" encoding="utf-8"?>
<ds:datastoreItem xmlns:ds="http://schemas.openxmlformats.org/officeDocument/2006/customXml" ds:itemID="{BC99BBE1-BD0F-4372-86B6-DAC3986DD6FA}">
  <ds:schemaRefs/>
</ds:datastoreItem>
</file>

<file path=customXml/itemProps20.xml><?xml version="1.0" encoding="utf-8"?>
<ds:datastoreItem xmlns:ds="http://schemas.openxmlformats.org/officeDocument/2006/customXml" ds:itemID="{B35A4B15-6441-4414-B3C2-C968EC02876F}">
  <ds:schemaRefs/>
</ds:datastoreItem>
</file>

<file path=customXml/itemProps200.xml><?xml version="1.0" encoding="utf-8"?>
<ds:datastoreItem xmlns:ds="http://schemas.openxmlformats.org/officeDocument/2006/customXml" ds:itemID="{6DF438E5-255E-4D8A-B790-07B70C3A487E}">
  <ds:schemaRefs/>
</ds:datastoreItem>
</file>

<file path=customXml/itemProps201.xml><?xml version="1.0" encoding="utf-8"?>
<ds:datastoreItem xmlns:ds="http://schemas.openxmlformats.org/officeDocument/2006/customXml" ds:itemID="{9E2F07B9-D6F1-43AC-9061-77E0189EFE0B}">
  <ds:schemaRefs/>
</ds:datastoreItem>
</file>

<file path=customXml/itemProps202.xml><?xml version="1.0" encoding="utf-8"?>
<ds:datastoreItem xmlns:ds="http://schemas.openxmlformats.org/officeDocument/2006/customXml" ds:itemID="{A8397772-3AAB-4478-A19A-C9C3AC560950}">
  <ds:schemaRefs/>
</ds:datastoreItem>
</file>

<file path=customXml/itemProps203.xml><?xml version="1.0" encoding="utf-8"?>
<ds:datastoreItem xmlns:ds="http://schemas.openxmlformats.org/officeDocument/2006/customXml" ds:itemID="{187750FA-E259-4120-9550-DF3E69630536}">
  <ds:schemaRefs/>
</ds:datastoreItem>
</file>

<file path=customXml/itemProps204.xml><?xml version="1.0" encoding="utf-8"?>
<ds:datastoreItem xmlns:ds="http://schemas.openxmlformats.org/officeDocument/2006/customXml" ds:itemID="{77B973DA-383B-48D6-B884-E8DAB43E10C5}">
  <ds:schemaRefs/>
</ds:datastoreItem>
</file>

<file path=customXml/itemProps205.xml><?xml version="1.0" encoding="utf-8"?>
<ds:datastoreItem xmlns:ds="http://schemas.openxmlformats.org/officeDocument/2006/customXml" ds:itemID="{DEF627AE-1797-4316-B095-BDBA528227BF}">
  <ds:schemaRefs/>
</ds:datastoreItem>
</file>

<file path=customXml/itemProps206.xml><?xml version="1.0" encoding="utf-8"?>
<ds:datastoreItem xmlns:ds="http://schemas.openxmlformats.org/officeDocument/2006/customXml" ds:itemID="{53777DB7-4428-4762-8D7D-49E93405A036}">
  <ds:schemaRefs/>
</ds:datastoreItem>
</file>

<file path=customXml/itemProps207.xml><?xml version="1.0" encoding="utf-8"?>
<ds:datastoreItem xmlns:ds="http://schemas.openxmlformats.org/officeDocument/2006/customXml" ds:itemID="{B9E74849-E72F-4AEB-832E-741D202BEC48}">
  <ds:schemaRefs/>
</ds:datastoreItem>
</file>

<file path=customXml/itemProps208.xml><?xml version="1.0" encoding="utf-8"?>
<ds:datastoreItem xmlns:ds="http://schemas.openxmlformats.org/officeDocument/2006/customXml" ds:itemID="{D35FF464-BBCE-4C54-BC0B-A24E388BD767}">
  <ds:schemaRefs/>
</ds:datastoreItem>
</file>

<file path=customXml/itemProps209.xml><?xml version="1.0" encoding="utf-8"?>
<ds:datastoreItem xmlns:ds="http://schemas.openxmlformats.org/officeDocument/2006/customXml" ds:itemID="{5F77C8DC-9F2A-4B3B-8E5D-DF86693BFF56}">
  <ds:schemaRefs/>
</ds:datastoreItem>
</file>

<file path=customXml/itemProps21.xml><?xml version="1.0" encoding="utf-8"?>
<ds:datastoreItem xmlns:ds="http://schemas.openxmlformats.org/officeDocument/2006/customXml" ds:itemID="{0E6774DC-EAC7-4E0B-9285-F33514C49773}">
  <ds:schemaRefs/>
</ds:datastoreItem>
</file>

<file path=customXml/itemProps210.xml><?xml version="1.0" encoding="utf-8"?>
<ds:datastoreItem xmlns:ds="http://schemas.openxmlformats.org/officeDocument/2006/customXml" ds:itemID="{ECB3E72F-BAD6-44D8-B603-9D26EE7BDB33}">
  <ds:schemaRefs/>
</ds:datastoreItem>
</file>

<file path=customXml/itemProps211.xml><?xml version="1.0" encoding="utf-8"?>
<ds:datastoreItem xmlns:ds="http://schemas.openxmlformats.org/officeDocument/2006/customXml" ds:itemID="{25864AD3-FAA6-4ABA-AC20-CEBCA1E4E7D2}">
  <ds:schemaRefs/>
</ds:datastoreItem>
</file>

<file path=customXml/itemProps212.xml><?xml version="1.0" encoding="utf-8"?>
<ds:datastoreItem xmlns:ds="http://schemas.openxmlformats.org/officeDocument/2006/customXml" ds:itemID="{7BD33748-65DE-41DB-97B1-4BFCC3472B80}">
  <ds:schemaRefs/>
</ds:datastoreItem>
</file>

<file path=customXml/itemProps213.xml><?xml version="1.0" encoding="utf-8"?>
<ds:datastoreItem xmlns:ds="http://schemas.openxmlformats.org/officeDocument/2006/customXml" ds:itemID="{F93E4CAA-8CCE-4BDE-9043-E1B8CC9B7887}">
  <ds:schemaRefs/>
</ds:datastoreItem>
</file>

<file path=customXml/itemProps214.xml><?xml version="1.0" encoding="utf-8"?>
<ds:datastoreItem xmlns:ds="http://schemas.openxmlformats.org/officeDocument/2006/customXml" ds:itemID="{EA6BCEEC-A6B4-435E-9BB8-CF62A7A06291}">
  <ds:schemaRefs/>
</ds:datastoreItem>
</file>

<file path=customXml/itemProps215.xml><?xml version="1.0" encoding="utf-8"?>
<ds:datastoreItem xmlns:ds="http://schemas.openxmlformats.org/officeDocument/2006/customXml" ds:itemID="{DD79D5C6-5BB2-47FD-B905-A3DBD8E83F61}">
  <ds:schemaRefs/>
</ds:datastoreItem>
</file>

<file path=customXml/itemProps216.xml><?xml version="1.0" encoding="utf-8"?>
<ds:datastoreItem xmlns:ds="http://schemas.openxmlformats.org/officeDocument/2006/customXml" ds:itemID="{0D3F0526-8548-4D10-A935-55DCFB434DB4}">
  <ds:schemaRefs/>
</ds:datastoreItem>
</file>

<file path=customXml/itemProps217.xml><?xml version="1.0" encoding="utf-8"?>
<ds:datastoreItem xmlns:ds="http://schemas.openxmlformats.org/officeDocument/2006/customXml" ds:itemID="{FB2AC126-11F0-42DC-B079-8C1FE9F1A416}">
  <ds:schemaRefs/>
</ds:datastoreItem>
</file>

<file path=customXml/itemProps218.xml><?xml version="1.0" encoding="utf-8"?>
<ds:datastoreItem xmlns:ds="http://schemas.openxmlformats.org/officeDocument/2006/customXml" ds:itemID="{12BA31DA-8B41-471D-9ADB-1C9035636322}">
  <ds:schemaRefs/>
</ds:datastoreItem>
</file>

<file path=customXml/itemProps219.xml><?xml version="1.0" encoding="utf-8"?>
<ds:datastoreItem xmlns:ds="http://schemas.openxmlformats.org/officeDocument/2006/customXml" ds:itemID="{29129EF5-086B-4BBF-BA2E-E826E6B47ECE}">
  <ds:schemaRefs/>
</ds:datastoreItem>
</file>

<file path=customXml/itemProps22.xml><?xml version="1.0" encoding="utf-8"?>
<ds:datastoreItem xmlns:ds="http://schemas.openxmlformats.org/officeDocument/2006/customXml" ds:itemID="{4A274774-000B-4CA6-8EDE-6769D67411FE}">
  <ds:schemaRefs/>
</ds:datastoreItem>
</file>

<file path=customXml/itemProps220.xml><?xml version="1.0" encoding="utf-8"?>
<ds:datastoreItem xmlns:ds="http://schemas.openxmlformats.org/officeDocument/2006/customXml" ds:itemID="{10A3CEED-E33F-4E3D-ABDA-AB0C1D5843C0}">
  <ds:schemaRefs/>
</ds:datastoreItem>
</file>

<file path=customXml/itemProps221.xml><?xml version="1.0" encoding="utf-8"?>
<ds:datastoreItem xmlns:ds="http://schemas.openxmlformats.org/officeDocument/2006/customXml" ds:itemID="{AC4031A0-3C5C-4185-99F7-F92821EF2665}">
  <ds:schemaRefs/>
</ds:datastoreItem>
</file>

<file path=customXml/itemProps222.xml><?xml version="1.0" encoding="utf-8"?>
<ds:datastoreItem xmlns:ds="http://schemas.openxmlformats.org/officeDocument/2006/customXml" ds:itemID="{49EE8979-7072-4187-B9C0-30496E3BBBFB}">
  <ds:schemaRefs/>
</ds:datastoreItem>
</file>

<file path=customXml/itemProps223.xml><?xml version="1.0" encoding="utf-8"?>
<ds:datastoreItem xmlns:ds="http://schemas.openxmlformats.org/officeDocument/2006/customXml" ds:itemID="{15067060-200B-4FB1-8B95-7DB5DF40D42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e0e463f-46c1-4b5a-aeae-2e65b5901510"/>
    <ds:schemaRef ds:uri="http://purl.org/dc/terms/"/>
    <ds:schemaRef ds:uri="http://schemas.openxmlformats.org/package/2006/metadata/core-properties"/>
    <ds:schemaRef ds:uri="adc6f7d2-2fd4-4c58-add3-50ea831b733c"/>
    <ds:schemaRef ds:uri="http://www.w3.org/XML/1998/namespace"/>
    <ds:schemaRef ds:uri="http://purl.org/dc/dcmitype/"/>
  </ds:schemaRefs>
</ds:datastoreItem>
</file>

<file path=customXml/itemProps224.xml><?xml version="1.0" encoding="utf-8"?>
<ds:datastoreItem xmlns:ds="http://schemas.openxmlformats.org/officeDocument/2006/customXml" ds:itemID="{47EDD75F-12FF-4D04-B989-4C8B3ED9F123}">
  <ds:schemaRefs/>
</ds:datastoreItem>
</file>

<file path=customXml/itemProps225.xml><?xml version="1.0" encoding="utf-8"?>
<ds:datastoreItem xmlns:ds="http://schemas.openxmlformats.org/officeDocument/2006/customXml" ds:itemID="{1AE7C518-2A29-4953-B878-A0DDE22515EF}">
  <ds:schemaRefs/>
</ds:datastoreItem>
</file>

<file path=customXml/itemProps226.xml><?xml version="1.0" encoding="utf-8"?>
<ds:datastoreItem xmlns:ds="http://schemas.openxmlformats.org/officeDocument/2006/customXml" ds:itemID="{47BAB8D0-0D7C-44BF-A546-CA7C00B41BAF}">
  <ds:schemaRefs/>
</ds:datastoreItem>
</file>

<file path=customXml/itemProps227.xml><?xml version="1.0" encoding="utf-8"?>
<ds:datastoreItem xmlns:ds="http://schemas.openxmlformats.org/officeDocument/2006/customXml" ds:itemID="{AF73BC6E-4D49-46EA-B936-C99FFCD2FCAD}">
  <ds:schemaRefs/>
</ds:datastoreItem>
</file>

<file path=customXml/itemProps228.xml><?xml version="1.0" encoding="utf-8"?>
<ds:datastoreItem xmlns:ds="http://schemas.openxmlformats.org/officeDocument/2006/customXml" ds:itemID="{49AE2879-B7EF-4C5D-89EF-6710244EC57F}">
  <ds:schemaRefs/>
</ds:datastoreItem>
</file>

<file path=customXml/itemProps229.xml><?xml version="1.0" encoding="utf-8"?>
<ds:datastoreItem xmlns:ds="http://schemas.openxmlformats.org/officeDocument/2006/customXml" ds:itemID="{56A067DF-E488-44C1-A2A9-616D538EB94B}">
  <ds:schemaRefs/>
</ds:datastoreItem>
</file>

<file path=customXml/itemProps23.xml><?xml version="1.0" encoding="utf-8"?>
<ds:datastoreItem xmlns:ds="http://schemas.openxmlformats.org/officeDocument/2006/customXml" ds:itemID="{C394CAA1-59F4-4688-9480-B98BC5211095}">
  <ds:schemaRefs/>
</ds:datastoreItem>
</file>

<file path=customXml/itemProps230.xml><?xml version="1.0" encoding="utf-8"?>
<ds:datastoreItem xmlns:ds="http://schemas.openxmlformats.org/officeDocument/2006/customXml" ds:itemID="{6BBFDA6B-66C8-456A-B769-7E8F780E5C19}">
  <ds:schemaRefs/>
</ds:datastoreItem>
</file>

<file path=customXml/itemProps231.xml><?xml version="1.0" encoding="utf-8"?>
<ds:datastoreItem xmlns:ds="http://schemas.openxmlformats.org/officeDocument/2006/customXml" ds:itemID="{93FD6511-A49B-4ACE-B595-99E65BC6B11F}">
  <ds:schemaRefs/>
</ds:datastoreItem>
</file>

<file path=customXml/itemProps232.xml><?xml version="1.0" encoding="utf-8"?>
<ds:datastoreItem xmlns:ds="http://schemas.openxmlformats.org/officeDocument/2006/customXml" ds:itemID="{AEF98A1D-9FD0-48AB-A312-40CE33D79520}">
  <ds:schemaRefs/>
</ds:datastoreItem>
</file>

<file path=customXml/itemProps233.xml><?xml version="1.0" encoding="utf-8"?>
<ds:datastoreItem xmlns:ds="http://schemas.openxmlformats.org/officeDocument/2006/customXml" ds:itemID="{B022CEF3-86E3-4887-B820-8D8DA111638F}">
  <ds:schemaRefs/>
</ds:datastoreItem>
</file>

<file path=customXml/itemProps234.xml><?xml version="1.0" encoding="utf-8"?>
<ds:datastoreItem xmlns:ds="http://schemas.openxmlformats.org/officeDocument/2006/customXml" ds:itemID="{123A03B8-CE17-4F6D-82BA-76A3C9FBABA0}">
  <ds:schemaRefs/>
</ds:datastoreItem>
</file>

<file path=customXml/itemProps235.xml><?xml version="1.0" encoding="utf-8"?>
<ds:datastoreItem xmlns:ds="http://schemas.openxmlformats.org/officeDocument/2006/customXml" ds:itemID="{120861A1-CA22-4679-9DB6-E61D7F807897}">
  <ds:schemaRefs/>
</ds:datastoreItem>
</file>

<file path=customXml/itemProps236.xml><?xml version="1.0" encoding="utf-8"?>
<ds:datastoreItem xmlns:ds="http://schemas.openxmlformats.org/officeDocument/2006/customXml" ds:itemID="{885E42FA-E027-40F6-BC35-665CF9CE0615}">
  <ds:schemaRefs/>
</ds:datastoreItem>
</file>

<file path=customXml/itemProps237.xml><?xml version="1.0" encoding="utf-8"?>
<ds:datastoreItem xmlns:ds="http://schemas.openxmlformats.org/officeDocument/2006/customXml" ds:itemID="{97DD3525-BC2A-478E-B54B-9299426F4124}">
  <ds:schemaRefs/>
</ds:datastoreItem>
</file>

<file path=customXml/itemProps238.xml><?xml version="1.0" encoding="utf-8"?>
<ds:datastoreItem xmlns:ds="http://schemas.openxmlformats.org/officeDocument/2006/customXml" ds:itemID="{040E7242-D8D2-4754-900D-403150857666}">
  <ds:schemaRefs/>
</ds:datastoreItem>
</file>

<file path=customXml/itemProps239.xml><?xml version="1.0" encoding="utf-8"?>
<ds:datastoreItem xmlns:ds="http://schemas.openxmlformats.org/officeDocument/2006/customXml" ds:itemID="{424615C2-A902-43B9-8692-CE3D1667FFAF}">
  <ds:schemaRefs/>
</ds:datastoreItem>
</file>

<file path=customXml/itemProps24.xml><?xml version="1.0" encoding="utf-8"?>
<ds:datastoreItem xmlns:ds="http://schemas.openxmlformats.org/officeDocument/2006/customXml" ds:itemID="{D08F30B5-B221-4AC2-933D-3A6047A636C9}">
  <ds:schemaRefs/>
</ds:datastoreItem>
</file>

<file path=customXml/itemProps240.xml><?xml version="1.0" encoding="utf-8"?>
<ds:datastoreItem xmlns:ds="http://schemas.openxmlformats.org/officeDocument/2006/customXml" ds:itemID="{42CD56F7-197F-41FA-8C1F-70A972855954}">
  <ds:schemaRefs/>
</ds:datastoreItem>
</file>

<file path=customXml/itemProps241.xml><?xml version="1.0" encoding="utf-8"?>
<ds:datastoreItem xmlns:ds="http://schemas.openxmlformats.org/officeDocument/2006/customXml" ds:itemID="{A3D2EC39-D787-45A8-85BB-245E1D79F13D}">
  <ds:schemaRefs/>
</ds:datastoreItem>
</file>

<file path=customXml/itemProps242.xml><?xml version="1.0" encoding="utf-8"?>
<ds:datastoreItem xmlns:ds="http://schemas.openxmlformats.org/officeDocument/2006/customXml" ds:itemID="{40B3ADFA-7FAE-435F-A2E1-ECFD41259F60}">
  <ds:schemaRefs/>
</ds:datastoreItem>
</file>

<file path=customXml/itemProps243.xml><?xml version="1.0" encoding="utf-8"?>
<ds:datastoreItem xmlns:ds="http://schemas.openxmlformats.org/officeDocument/2006/customXml" ds:itemID="{A22E1BAF-5701-44C2-8247-6C64369F7315}">
  <ds:schemaRefs/>
</ds:datastoreItem>
</file>

<file path=customXml/itemProps244.xml><?xml version="1.0" encoding="utf-8"?>
<ds:datastoreItem xmlns:ds="http://schemas.openxmlformats.org/officeDocument/2006/customXml" ds:itemID="{332B8337-729C-4530-BBCA-444C58921F60}">
  <ds:schemaRefs/>
</ds:datastoreItem>
</file>

<file path=customXml/itemProps245.xml><?xml version="1.0" encoding="utf-8"?>
<ds:datastoreItem xmlns:ds="http://schemas.openxmlformats.org/officeDocument/2006/customXml" ds:itemID="{541CB8B5-72AE-42A8-B27F-09DB6FCD157A}">
  <ds:schemaRefs/>
</ds:datastoreItem>
</file>

<file path=customXml/itemProps246.xml><?xml version="1.0" encoding="utf-8"?>
<ds:datastoreItem xmlns:ds="http://schemas.openxmlformats.org/officeDocument/2006/customXml" ds:itemID="{78C3C35F-76C0-49E5-80A1-80D0723D1130}">
  <ds:schemaRefs/>
</ds:datastoreItem>
</file>

<file path=customXml/itemProps247.xml><?xml version="1.0" encoding="utf-8"?>
<ds:datastoreItem xmlns:ds="http://schemas.openxmlformats.org/officeDocument/2006/customXml" ds:itemID="{F2FC6221-8059-4A53-A77D-7DED96729280}">
  <ds:schemaRefs/>
</ds:datastoreItem>
</file>

<file path=customXml/itemProps248.xml><?xml version="1.0" encoding="utf-8"?>
<ds:datastoreItem xmlns:ds="http://schemas.openxmlformats.org/officeDocument/2006/customXml" ds:itemID="{03429443-EB8A-4C7A-BFD9-23CEC7FCE6EB}">
  <ds:schemaRefs/>
</ds:datastoreItem>
</file>

<file path=customXml/itemProps249.xml><?xml version="1.0" encoding="utf-8"?>
<ds:datastoreItem xmlns:ds="http://schemas.openxmlformats.org/officeDocument/2006/customXml" ds:itemID="{6FD9E8BC-B6EB-4D60-BA5F-4B03D8C74BF9}">
  <ds:schemaRefs/>
</ds:datastoreItem>
</file>

<file path=customXml/itemProps25.xml><?xml version="1.0" encoding="utf-8"?>
<ds:datastoreItem xmlns:ds="http://schemas.openxmlformats.org/officeDocument/2006/customXml" ds:itemID="{2626E6FB-6516-4C34-B6EB-2E24ED143A46}">
  <ds:schemaRefs/>
</ds:datastoreItem>
</file>

<file path=customXml/itemProps250.xml><?xml version="1.0" encoding="utf-8"?>
<ds:datastoreItem xmlns:ds="http://schemas.openxmlformats.org/officeDocument/2006/customXml" ds:itemID="{D5E47EE3-C5B5-4DF7-AD19-450A9EA896AF}">
  <ds:schemaRefs/>
</ds:datastoreItem>
</file>

<file path=customXml/itemProps251.xml><?xml version="1.0" encoding="utf-8"?>
<ds:datastoreItem xmlns:ds="http://schemas.openxmlformats.org/officeDocument/2006/customXml" ds:itemID="{37E55D3F-1961-4CBA-9370-3C317607EAC6}">
  <ds:schemaRefs/>
</ds:datastoreItem>
</file>

<file path=customXml/itemProps252.xml><?xml version="1.0" encoding="utf-8"?>
<ds:datastoreItem xmlns:ds="http://schemas.openxmlformats.org/officeDocument/2006/customXml" ds:itemID="{5A7BD9A0-65F2-4B07-B786-F4AE8D0E4621}">
  <ds:schemaRefs/>
</ds:datastoreItem>
</file>

<file path=customXml/itemProps253.xml><?xml version="1.0" encoding="utf-8"?>
<ds:datastoreItem xmlns:ds="http://schemas.openxmlformats.org/officeDocument/2006/customXml" ds:itemID="{354045AF-A504-445A-91E6-F2C75AB78229}">
  <ds:schemaRefs/>
</ds:datastoreItem>
</file>

<file path=customXml/itemProps254.xml><?xml version="1.0" encoding="utf-8"?>
<ds:datastoreItem xmlns:ds="http://schemas.openxmlformats.org/officeDocument/2006/customXml" ds:itemID="{E2780E32-306A-4F94-A4D6-AB967F3D388F}">
  <ds:schemaRefs/>
</ds:datastoreItem>
</file>

<file path=customXml/itemProps255.xml><?xml version="1.0" encoding="utf-8"?>
<ds:datastoreItem xmlns:ds="http://schemas.openxmlformats.org/officeDocument/2006/customXml" ds:itemID="{B3952FF8-844E-48FD-878B-6C46C4E58F51}">
  <ds:schemaRefs/>
</ds:datastoreItem>
</file>

<file path=customXml/itemProps256.xml><?xml version="1.0" encoding="utf-8"?>
<ds:datastoreItem xmlns:ds="http://schemas.openxmlformats.org/officeDocument/2006/customXml" ds:itemID="{25D5335A-909F-4879-B719-508226884B66}">
  <ds:schemaRefs/>
</ds:datastoreItem>
</file>

<file path=customXml/itemProps257.xml><?xml version="1.0" encoding="utf-8"?>
<ds:datastoreItem xmlns:ds="http://schemas.openxmlformats.org/officeDocument/2006/customXml" ds:itemID="{49A09D5A-C43C-421A-BC15-07666C284BEE}">
  <ds:schemaRefs/>
</ds:datastoreItem>
</file>

<file path=customXml/itemProps258.xml><?xml version="1.0" encoding="utf-8"?>
<ds:datastoreItem xmlns:ds="http://schemas.openxmlformats.org/officeDocument/2006/customXml" ds:itemID="{7236565A-AA92-4C18-8FBC-ED00E7D3FC18}">
  <ds:schemaRefs/>
</ds:datastoreItem>
</file>

<file path=customXml/itemProps259.xml><?xml version="1.0" encoding="utf-8"?>
<ds:datastoreItem xmlns:ds="http://schemas.openxmlformats.org/officeDocument/2006/customXml" ds:itemID="{A7A01D77-6143-448F-A9E8-BB428C39AF69}">
  <ds:schemaRefs/>
</ds:datastoreItem>
</file>

<file path=customXml/itemProps26.xml><?xml version="1.0" encoding="utf-8"?>
<ds:datastoreItem xmlns:ds="http://schemas.openxmlformats.org/officeDocument/2006/customXml" ds:itemID="{296C3F6B-B65C-441E-A86D-5FD969C43D3F}">
  <ds:schemaRefs/>
</ds:datastoreItem>
</file>

<file path=customXml/itemProps260.xml><?xml version="1.0" encoding="utf-8"?>
<ds:datastoreItem xmlns:ds="http://schemas.openxmlformats.org/officeDocument/2006/customXml" ds:itemID="{03EF5125-B3DC-4407-807E-3EB7F7A74DCF}">
  <ds:schemaRefs/>
</ds:datastoreItem>
</file>

<file path=customXml/itemProps261.xml><?xml version="1.0" encoding="utf-8"?>
<ds:datastoreItem xmlns:ds="http://schemas.openxmlformats.org/officeDocument/2006/customXml" ds:itemID="{945DB950-C61A-4C46-A54F-B9D9A7DE41FB}">
  <ds:schemaRefs/>
</ds:datastoreItem>
</file>

<file path=customXml/itemProps262.xml><?xml version="1.0" encoding="utf-8"?>
<ds:datastoreItem xmlns:ds="http://schemas.openxmlformats.org/officeDocument/2006/customXml" ds:itemID="{F94E6815-31A4-4F78-A76F-DFB09B837A55}">
  <ds:schemaRefs/>
</ds:datastoreItem>
</file>

<file path=customXml/itemProps263.xml><?xml version="1.0" encoding="utf-8"?>
<ds:datastoreItem xmlns:ds="http://schemas.openxmlformats.org/officeDocument/2006/customXml" ds:itemID="{2BF855AC-338C-42BE-B5C1-1FA3A8B33B2A}">
  <ds:schemaRefs/>
</ds:datastoreItem>
</file>

<file path=customXml/itemProps264.xml><?xml version="1.0" encoding="utf-8"?>
<ds:datastoreItem xmlns:ds="http://schemas.openxmlformats.org/officeDocument/2006/customXml" ds:itemID="{1C8A95E2-0851-4A4C-B89E-463ECE0556FB}">
  <ds:schemaRefs/>
</ds:datastoreItem>
</file>

<file path=customXml/itemProps265.xml><?xml version="1.0" encoding="utf-8"?>
<ds:datastoreItem xmlns:ds="http://schemas.openxmlformats.org/officeDocument/2006/customXml" ds:itemID="{66F6FA00-D2F7-4EE9-B075-F314FAB1F807}">
  <ds:schemaRefs/>
</ds:datastoreItem>
</file>

<file path=customXml/itemProps266.xml><?xml version="1.0" encoding="utf-8"?>
<ds:datastoreItem xmlns:ds="http://schemas.openxmlformats.org/officeDocument/2006/customXml" ds:itemID="{1365E5C3-99F6-4F53-9343-534B112C69BF}">
  <ds:schemaRefs/>
</ds:datastoreItem>
</file>

<file path=customXml/itemProps267.xml><?xml version="1.0" encoding="utf-8"?>
<ds:datastoreItem xmlns:ds="http://schemas.openxmlformats.org/officeDocument/2006/customXml" ds:itemID="{B8FE0099-01AB-47C8-8386-9A53A6DD620E}">
  <ds:schemaRefs/>
</ds:datastoreItem>
</file>

<file path=customXml/itemProps268.xml><?xml version="1.0" encoding="utf-8"?>
<ds:datastoreItem xmlns:ds="http://schemas.openxmlformats.org/officeDocument/2006/customXml" ds:itemID="{ADD32BAA-F28B-43BB-B942-3EB78BC24830}">
  <ds:schemaRefs/>
</ds:datastoreItem>
</file>

<file path=customXml/itemProps269.xml><?xml version="1.0" encoding="utf-8"?>
<ds:datastoreItem xmlns:ds="http://schemas.openxmlformats.org/officeDocument/2006/customXml" ds:itemID="{07D02EA5-EFE9-4A9E-9E35-8FA6F4A55B99}">
  <ds:schemaRefs/>
</ds:datastoreItem>
</file>

<file path=customXml/itemProps27.xml><?xml version="1.0" encoding="utf-8"?>
<ds:datastoreItem xmlns:ds="http://schemas.openxmlformats.org/officeDocument/2006/customXml" ds:itemID="{CD638F4C-8239-4E85-9402-0DA8B8B76AFF}">
  <ds:schemaRefs/>
</ds:datastoreItem>
</file>

<file path=customXml/itemProps270.xml><?xml version="1.0" encoding="utf-8"?>
<ds:datastoreItem xmlns:ds="http://schemas.openxmlformats.org/officeDocument/2006/customXml" ds:itemID="{C93B303D-7CD8-4E87-8071-215B807976FA}">
  <ds:schemaRefs/>
</ds:datastoreItem>
</file>

<file path=customXml/itemProps271.xml><?xml version="1.0" encoding="utf-8"?>
<ds:datastoreItem xmlns:ds="http://schemas.openxmlformats.org/officeDocument/2006/customXml" ds:itemID="{7A881838-3A44-4C83-926D-C74093F0F91D}">
  <ds:schemaRefs/>
</ds:datastoreItem>
</file>

<file path=customXml/itemProps272.xml><?xml version="1.0" encoding="utf-8"?>
<ds:datastoreItem xmlns:ds="http://schemas.openxmlformats.org/officeDocument/2006/customXml" ds:itemID="{87529351-D0F0-40DE-80D7-BF96D6D8A822}">
  <ds:schemaRefs/>
</ds:datastoreItem>
</file>

<file path=customXml/itemProps273.xml><?xml version="1.0" encoding="utf-8"?>
<ds:datastoreItem xmlns:ds="http://schemas.openxmlformats.org/officeDocument/2006/customXml" ds:itemID="{7CF10ED0-B864-4A3E-B71F-AF5C9B4C8A9A}">
  <ds:schemaRefs/>
</ds:datastoreItem>
</file>

<file path=customXml/itemProps274.xml><?xml version="1.0" encoding="utf-8"?>
<ds:datastoreItem xmlns:ds="http://schemas.openxmlformats.org/officeDocument/2006/customXml" ds:itemID="{EDE80B62-99E8-4F25-8939-307C09CCDFBD}">
  <ds:schemaRefs/>
</ds:datastoreItem>
</file>

<file path=customXml/itemProps275.xml><?xml version="1.0" encoding="utf-8"?>
<ds:datastoreItem xmlns:ds="http://schemas.openxmlformats.org/officeDocument/2006/customXml" ds:itemID="{38ACF735-830F-4F38-AFFC-BF7367CAB466}">
  <ds:schemaRefs/>
</ds:datastoreItem>
</file>

<file path=customXml/itemProps276.xml><?xml version="1.0" encoding="utf-8"?>
<ds:datastoreItem xmlns:ds="http://schemas.openxmlformats.org/officeDocument/2006/customXml" ds:itemID="{33E6F95C-5BEE-46DD-A0CF-BC6E98612EEA}">
  <ds:schemaRefs/>
</ds:datastoreItem>
</file>

<file path=customXml/itemProps277.xml><?xml version="1.0" encoding="utf-8"?>
<ds:datastoreItem xmlns:ds="http://schemas.openxmlformats.org/officeDocument/2006/customXml" ds:itemID="{169DFA95-8D1F-4A72-9799-8536181ADF93}">
  <ds:schemaRefs/>
</ds:datastoreItem>
</file>

<file path=customXml/itemProps278.xml><?xml version="1.0" encoding="utf-8"?>
<ds:datastoreItem xmlns:ds="http://schemas.openxmlformats.org/officeDocument/2006/customXml" ds:itemID="{FC3E01E3-9D7B-4F3B-8847-66F416570895}">
  <ds:schemaRefs/>
</ds:datastoreItem>
</file>

<file path=customXml/itemProps279.xml><?xml version="1.0" encoding="utf-8"?>
<ds:datastoreItem xmlns:ds="http://schemas.openxmlformats.org/officeDocument/2006/customXml" ds:itemID="{2F090117-6679-4CCB-BBEB-9B4BDB208AE9}">
  <ds:schemaRefs/>
</ds:datastoreItem>
</file>

<file path=customXml/itemProps28.xml><?xml version="1.0" encoding="utf-8"?>
<ds:datastoreItem xmlns:ds="http://schemas.openxmlformats.org/officeDocument/2006/customXml" ds:itemID="{3459AD7D-FDCC-4CEC-A933-B94AB5861FEB}">
  <ds:schemaRefs>
    <ds:schemaRef ds:uri="http://schemas.microsoft.com/sharepoint/v3/contenttype/forms"/>
  </ds:schemaRefs>
</ds:datastoreItem>
</file>

<file path=customXml/itemProps280.xml><?xml version="1.0" encoding="utf-8"?>
<ds:datastoreItem xmlns:ds="http://schemas.openxmlformats.org/officeDocument/2006/customXml" ds:itemID="{376DD206-8725-4962-8EC6-0912A1D26D23}">
  <ds:schemaRefs/>
</ds:datastoreItem>
</file>

<file path=customXml/itemProps281.xml><?xml version="1.0" encoding="utf-8"?>
<ds:datastoreItem xmlns:ds="http://schemas.openxmlformats.org/officeDocument/2006/customXml" ds:itemID="{126B0DE2-AA5C-46BB-A55C-10A44E8D89C0}">
  <ds:schemaRefs/>
</ds:datastoreItem>
</file>

<file path=customXml/itemProps282.xml><?xml version="1.0" encoding="utf-8"?>
<ds:datastoreItem xmlns:ds="http://schemas.openxmlformats.org/officeDocument/2006/customXml" ds:itemID="{B5522645-8AB9-4868-B773-02DA3D2526A5}">
  <ds:schemaRefs/>
</ds:datastoreItem>
</file>

<file path=customXml/itemProps283.xml><?xml version="1.0" encoding="utf-8"?>
<ds:datastoreItem xmlns:ds="http://schemas.openxmlformats.org/officeDocument/2006/customXml" ds:itemID="{1B5F1C27-FDAE-4C68-9194-B636F2EFB679}">
  <ds:schemaRefs/>
</ds:datastoreItem>
</file>

<file path=customXml/itemProps284.xml><?xml version="1.0" encoding="utf-8"?>
<ds:datastoreItem xmlns:ds="http://schemas.openxmlformats.org/officeDocument/2006/customXml" ds:itemID="{1DE662E8-2814-42E3-B308-DB9EF57F2446}">
  <ds:schemaRefs/>
</ds:datastoreItem>
</file>

<file path=customXml/itemProps285.xml><?xml version="1.0" encoding="utf-8"?>
<ds:datastoreItem xmlns:ds="http://schemas.openxmlformats.org/officeDocument/2006/customXml" ds:itemID="{C61C006C-C70D-4B81-844E-81C3D619AFA7}">
  <ds:schemaRefs/>
</ds:datastoreItem>
</file>

<file path=customXml/itemProps286.xml><?xml version="1.0" encoding="utf-8"?>
<ds:datastoreItem xmlns:ds="http://schemas.openxmlformats.org/officeDocument/2006/customXml" ds:itemID="{1524BD0C-2EB6-42AB-B792-2AEEE924C962}">
  <ds:schemaRefs/>
</ds:datastoreItem>
</file>

<file path=customXml/itemProps287.xml><?xml version="1.0" encoding="utf-8"?>
<ds:datastoreItem xmlns:ds="http://schemas.openxmlformats.org/officeDocument/2006/customXml" ds:itemID="{4F9C00F5-F650-481F-AA36-166764E5E14D}">
  <ds:schemaRefs/>
</ds:datastoreItem>
</file>

<file path=customXml/itemProps288.xml><?xml version="1.0" encoding="utf-8"?>
<ds:datastoreItem xmlns:ds="http://schemas.openxmlformats.org/officeDocument/2006/customXml" ds:itemID="{7E747F05-261B-4076-B1CE-C07612CB63EC}">
  <ds:schemaRefs/>
</ds:datastoreItem>
</file>

<file path=customXml/itemProps289.xml><?xml version="1.0" encoding="utf-8"?>
<ds:datastoreItem xmlns:ds="http://schemas.openxmlformats.org/officeDocument/2006/customXml" ds:itemID="{72EB8935-CDE6-45D6-AA00-B8B41AFA6BA3}">
  <ds:schemaRefs/>
</ds:datastoreItem>
</file>

<file path=customXml/itemProps29.xml><?xml version="1.0" encoding="utf-8"?>
<ds:datastoreItem xmlns:ds="http://schemas.openxmlformats.org/officeDocument/2006/customXml" ds:itemID="{82AA325E-6F6E-4A36-99F3-266BAB526694}">
  <ds:schemaRefs/>
</ds:datastoreItem>
</file>

<file path=customXml/itemProps290.xml><?xml version="1.0" encoding="utf-8"?>
<ds:datastoreItem xmlns:ds="http://schemas.openxmlformats.org/officeDocument/2006/customXml" ds:itemID="{951668DA-C208-480C-A23B-5166DCFDF64C}">
  <ds:schemaRefs/>
</ds:datastoreItem>
</file>

<file path=customXml/itemProps291.xml><?xml version="1.0" encoding="utf-8"?>
<ds:datastoreItem xmlns:ds="http://schemas.openxmlformats.org/officeDocument/2006/customXml" ds:itemID="{C21001DE-2159-4C1D-8EB3-889EA0FA1CEC}">
  <ds:schemaRefs/>
</ds:datastoreItem>
</file>

<file path=customXml/itemProps292.xml><?xml version="1.0" encoding="utf-8"?>
<ds:datastoreItem xmlns:ds="http://schemas.openxmlformats.org/officeDocument/2006/customXml" ds:itemID="{CF3964E1-FAC1-49E4-B45A-B3DC8ACF764E}">
  <ds:schemaRefs/>
</ds:datastoreItem>
</file>

<file path=customXml/itemProps293.xml><?xml version="1.0" encoding="utf-8"?>
<ds:datastoreItem xmlns:ds="http://schemas.openxmlformats.org/officeDocument/2006/customXml" ds:itemID="{194BEBD7-ACA0-4F8A-9D9E-4180C46D2ED5}">
  <ds:schemaRefs/>
</ds:datastoreItem>
</file>

<file path=customXml/itemProps294.xml><?xml version="1.0" encoding="utf-8"?>
<ds:datastoreItem xmlns:ds="http://schemas.openxmlformats.org/officeDocument/2006/customXml" ds:itemID="{497FB3D5-2623-425D-8DF7-BBBF35657526}">
  <ds:schemaRefs/>
</ds:datastoreItem>
</file>

<file path=customXml/itemProps295.xml><?xml version="1.0" encoding="utf-8"?>
<ds:datastoreItem xmlns:ds="http://schemas.openxmlformats.org/officeDocument/2006/customXml" ds:itemID="{4D7C9EB2-4185-411E-816D-25C92FF6D76D}">
  <ds:schemaRefs/>
</ds:datastoreItem>
</file>

<file path=customXml/itemProps296.xml><?xml version="1.0" encoding="utf-8"?>
<ds:datastoreItem xmlns:ds="http://schemas.openxmlformats.org/officeDocument/2006/customXml" ds:itemID="{A3EA621B-6842-439B-B00A-20B383D67D5D}">
  <ds:schemaRefs/>
</ds:datastoreItem>
</file>

<file path=customXml/itemProps297.xml><?xml version="1.0" encoding="utf-8"?>
<ds:datastoreItem xmlns:ds="http://schemas.openxmlformats.org/officeDocument/2006/customXml" ds:itemID="{44897824-7919-49D0-8797-D75DBF9E5766}">
  <ds:schemaRefs/>
</ds:datastoreItem>
</file>

<file path=customXml/itemProps298.xml><?xml version="1.0" encoding="utf-8"?>
<ds:datastoreItem xmlns:ds="http://schemas.openxmlformats.org/officeDocument/2006/customXml" ds:itemID="{A6C9A90D-79E9-49B9-9931-4AD583FEF288}">
  <ds:schemaRefs/>
</ds:datastoreItem>
</file>

<file path=customXml/itemProps299.xml><?xml version="1.0" encoding="utf-8"?>
<ds:datastoreItem xmlns:ds="http://schemas.openxmlformats.org/officeDocument/2006/customXml" ds:itemID="{ED9540CC-A43B-4C73-AD29-0CD6B25D0ACB}">
  <ds:schemaRefs/>
</ds:datastoreItem>
</file>

<file path=customXml/itemProps3.xml><?xml version="1.0" encoding="utf-8"?>
<ds:datastoreItem xmlns:ds="http://schemas.openxmlformats.org/officeDocument/2006/customXml" ds:itemID="{CF1C4AFB-33F3-4722-858F-746A0AF85273}">
  <ds:schemaRefs/>
</ds:datastoreItem>
</file>

<file path=customXml/itemProps30.xml><?xml version="1.0" encoding="utf-8"?>
<ds:datastoreItem xmlns:ds="http://schemas.openxmlformats.org/officeDocument/2006/customXml" ds:itemID="{6D69084E-2C0C-43CF-8DE3-E3C87B0461AB}">
  <ds:schemaRefs/>
</ds:datastoreItem>
</file>

<file path=customXml/itemProps300.xml><?xml version="1.0" encoding="utf-8"?>
<ds:datastoreItem xmlns:ds="http://schemas.openxmlformats.org/officeDocument/2006/customXml" ds:itemID="{FDBAA575-407E-40D0-8C92-9EBCF1BECB5A}">
  <ds:schemaRefs/>
</ds:datastoreItem>
</file>

<file path=customXml/itemProps301.xml><?xml version="1.0" encoding="utf-8"?>
<ds:datastoreItem xmlns:ds="http://schemas.openxmlformats.org/officeDocument/2006/customXml" ds:itemID="{40781036-640C-4C3C-AC5D-FA8DFAC79EE8}">
  <ds:schemaRefs/>
</ds:datastoreItem>
</file>

<file path=customXml/itemProps302.xml><?xml version="1.0" encoding="utf-8"?>
<ds:datastoreItem xmlns:ds="http://schemas.openxmlformats.org/officeDocument/2006/customXml" ds:itemID="{67C576A0-B4BC-4BB8-802D-5D5AD58EA39F}">
  <ds:schemaRefs/>
</ds:datastoreItem>
</file>

<file path=customXml/itemProps303.xml><?xml version="1.0" encoding="utf-8"?>
<ds:datastoreItem xmlns:ds="http://schemas.openxmlformats.org/officeDocument/2006/customXml" ds:itemID="{EA938A25-5DE4-45B0-9106-D3A2625C8361}">
  <ds:schemaRefs/>
</ds:datastoreItem>
</file>

<file path=customXml/itemProps304.xml><?xml version="1.0" encoding="utf-8"?>
<ds:datastoreItem xmlns:ds="http://schemas.openxmlformats.org/officeDocument/2006/customXml" ds:itemID="{8ECFA4A8-64ED-4162-B447-0647D261B769}">
  <ds:schemaRefs/>
</ds:datastoreItem>
</file>

<file path=customXml/itemProps305.xml><?xml version="1.0" encoding="utf-8"?>
<ds:datastoreItem xmlns:ds="http://schemas.openxmlformats.org/officeDocument/2006/customXml" ds:itemID="{8B9B2C94-E1F0-4B28-B016-15BA892432D3}">
  <ds:schemaRefs/>
</ds:datastoreItem>
</file>

<file path=customXml/itemProps306.xml><?xml version="1.0" encoding="utf-8"?>
<ds:datastoreItem xmlns:ds="http://schemas.openxmlformats.org/officeDocument/2006/customXml" ds:itemID="{D6899E90-0D48-4D4D-8D4B-54E2E87CFAA1}">
  <ds:schemaRefs/>
</ds:datastoreItem>
</file>

<file path=customXml/itemProps307.xml><?xml version="1.0" encoding="utf-8"?>
<ds:datastoreItem xmlns:ds="http://schemas.openxmlformats.org/officeDocument/2006/customXml" ds:itemID="{C2F7B744-02DA-4D2D-9F80-793B0A12AA4F}">
  <ds:schemaRefs/>
</ds:datastoreItem>
</file>

<file path=customXml/itemProps308.xml><?xml version="1.0" encoding="utf-8"?>
<ds:datastoreItem xmlns:ds="http://schemas.openxmlformats.org/officeDocument/2006/customXml" ds:itemID="{6ED67677-CD7D-4C01-8FDB-044D35A89A82}">
  <ds:schemaRefs/>
</ds:datastoreItem>
</file>

<file path=customXml/itemProps309.xml><?xml version="1.0" encoding="utf-8"?>
<ds:datastoreItem xmlns:ds="http://schemas.openxmlformats.org/officeDocument/2006/customXml" ds:itemID="{77F439F0-BA5E-456F-B9A7-468C0E7C1BB7}">
  <ds:schemaRefs/>
</ds:datastoreItem>
</file>

<file path=customXml/itemProps31.xml><?xml version="1.0" encoding="utf-8"?>
<ds:datastoreItem xmlns:ds="http://schemas.openxmlformats.org/officeDocument/2006/customXml" ds:itemID="{8761E732-DA2D-46D8-89D8-2EDC7853AF99}">
  <ds:schemaRefs/>
</ds:datastoreItem>
</file>

<file path=customXml/itemProps310.xml><?xml version="1.0" encoding="utf-8"?>
<ds:datastoreItem xmlns:ds="http://schemas.openxmlformats.org/officeDocument/2006/customXml" ds:itemID="{A4DE45F7-CDC2-477C-9BC5-8DDFC1A3A63A}">
  <ds:schemaRefs/>
</ds:datastoreItem>
</file>

<file path=customXml/itemProps311.xml><?xml version="1.0" encoding="utf-8"?>
<ds:datastoreItem xmlns:ds="http://schemas.openxmlformats.org/officeDocument/2006/customXml" ds:itemID="{737CA76F-A7E6-4071-9C1B-5CFAEF94B229}">
  <ds:schemaRefs/>
</ds:datastoreItem>
</file>

<file path=customXml/itemProps312.xml><?xml version="1.0" encoding="utf-8"?>
<ds:datastoreItem xmlns:ds="http://schemas.openxmlformats.org/officeDocument/2006/customXml" ds:itemID="{F7542621-8A0B-423C-AC3D-CBE0C12671FA}">
  <ds:schemaRefs/>
</ds:datastoreItem>
</file>

<file path=customXml/itemProps313.xml><?xml version="1.0" encoding="utf-8"?>
<ds:datastoreItem xmlns:ds="http://schemas.openxmlformats.org/officeDocument/2006/customXml" ds:itemID="{72502DBC-7E15-4D51-96C0-C8B079058626}">
  <ds:schemaRefs/>
</ds:datastoreItem>
</file>

<file path=customXml/itemProps314.xml><?xml version="1.0" encoding="utf-8"?>
<ds:datastoreItem xmlns:ds="http://schemas.openxmlformats.org/officeDocument/2006/customXml" ds:itemID="{2EF8A2E8-35D8-4E92-8EF2-6F2E9E5A2927}">
  <ds:schemaRefs/>
</ds:datastoreItem>
</file>

<file path=customXml/itemProps315.xml><?xml version="1.0" encoding="utf-8"?>
<ds:datastoreItem xmlns:ds="http://schemas.openxmlformats.org/officeDocument/2006/customXml" ds:itemID="{AF639FA0-2699-451E-885E-060134337D66}">
  <ds:schemaRefs/>
</ds:datastoreItem>
</file>

<file path=customXml/itemProps316.xml><?xml version="1.0" encoding="utf-8"?>
<ds:datastoreItem xmlns:ds="http://schemas.openxmlformats.org/officeDocument/2006/customXml" ds:itemID="{5C99A784-D090-49ED-A040-BC792F9222F7}">
  <ds:schemaRefs/>
</ds:datastoreItem>
</file>

<file path=customXml/itemProps317.xml><?xml version="1.0" encoding="utf-8"?>
<ds:datastoreItem xmlns:ds="http://schemas.openxmlformats.org/officeDocument/2006/customXml" ds:itemID="{734DC66F-0E00-48B8-8A09-F6902DE6B0AB}">
  <ds:schemaRefs/>
</ds:datastoreItem>
</file>

<file path=customXml/itemProps318.xml><?xml version="1.0" encoding="utf-8"?>
<ds:datastoreItem xmlns:ds="http://schemas.openxmlformats.org/officeDocument/2006/customXml" ds:itemID="{A1DCCA38-59C2-43D0-8FFA-E7399F01C776}">
  <ds:schemaRefs/>
</ds:datastoreItem>
</file>

<file path=customXml/itemProps319.xml><?xml version="1.0" encoding="utf-8"?>
<ds:datastoreItem xmlns:ds="http://schemas.openxmlformats.org/officeDocument/2006/customXml" ds:itemID="{3B86EA55-DD2F-4F3E-A928-DB9104D1502D}">
  <ds:schemaRefs/>
</ds:datastoreItem>
</file>

<file path=customXml/itemProps32.xml><?xml version="1.0" encoding="utf-8"?>
<ds:datastoreItem xmlns:ds="http://schemas.openxmlformats.org/officeDocument/2006/customXml" ds:itemID="{CA2971BC-F666-479B-AEAA-931DE1B4EC71}">
  <ds:schemaRefs/>
</ds:datastoreItem>
</file>

<file path=customXml/itemProps320.xml><?xml version="1.0" encoding="utf-8"?>
<ds:datastoreItem xmlns:ds="http://schemas.openxmlformats.org/officeDocument/2006/customXml" ds:itemID="{472DCB89-6E49-40E0-9FF3-B2D8D8B27A51}">
  <ds:schemaRefs/>
</ds:datastoreItem>
</file>

<file path=customXml/itemProps321.xml><?xml version="1.0" encoding="utf-8"?>
<ds:datastoreItem xmlns:ds="http://schemas.openxmlformats.org/officeDocument/2006/customXml" ds:itemID="{97188B50-3BE2-45C4-A991-C93A8EB72E7B}">
  <ds:schemaRefs/>
</ds:datastoreItem>
</file>

<file path=customXml/itemProps322.xml><?xml version="1.0" encoding="utf-8"?>
<ds:datastoreItem xmlns:ds="http://schemas.openxmlformats.org/officeDocument/2006/customXml" ds:itemID="{B9A73FEE-7979-4BD0-9A22-293F3D951BE3}">
  <ds:schemaRefs/>
</ds:datastoreItem>
</file>

<file path=customXml/itemProps323.xml><?xml version="1.0" encoding="utf-8"?>
<ds:datastoreItem xmlns:ds="http://schemas.openxmlformats.org/officeDocument/2006/customXml" ds:itemID="{F7680719-80BD-446D-8121-47574A1EF12F}">
  <ds:schemaRefs/>
</ds:datastoreItem>
</file>

<file path=customXml/itemProps324.xml><?xml version="1.0" encoding="utf-8"?>
<ds:datastoreItem xmlns:ds="http://schemas.openxmlformats.org/officeDocument/2006/customXml" ds:itemID="{F5CF5D40-A4E1-4A9F-A0DB-576560A434B6}">
  <ds:schemaRefs/>
</ds:datastoreItem>
</file>

<file path=customXml/itemProps325.xml><?xml version="1.0" encoding="utf-8"?>
<ds:datastoreItem xmlns:ds="http://schemas.openxmlformats.org/officeDocument/2006/customXml" ds:itemID="{61F35173-AE6F-4221-8816-4193AF2CC226}">
  <ds:schemaRefs/>
</ds:datastoreItem>
</file>

<file path=customXml/itemProps326.xml><?xml version="1.0" encoding="utf-8"?>
<ds:datastoreItem xmlns:ds="http://schemas.openxmlformats.org/officeDocument/2006/customXml" ds:itemID="{55D900AF-01C7-46D8-86FD-46A76A0CAC04}">
  <ds:schemaRefs/>
</ds:datastoreItem>
</file>

<file path=customXml/itemProps327.xml><?xml version="1.0" encoding="utf-8"?>
<ds:datastoreItem xmlns:ds="http://schemas.openxmlformats.org/officeDocument/2006/customXml" ds:itemID="{BAFFFCC2-4CE9-4FDB-A997-3DF69C06DBAF}">
  <ds:schemaRefs/>
</ds:datastoreItem>
</file>

<file path=customXml/itemProps328.xml><?xml version="1.0" encoding="utf-8"?>
<ds:datastoreItem xmlns:ds="http://schemas.openxmlformats.org/officeDocument/2006/customXml" ds:itemID="{1E685739-A1CB-47F2-9B3A-A5A0B848A02D}">
  <ds:schemaRefs/>
</ds:datastoreItem>
</file>

<file path=customXml/itemProps329.xml><?xml version="1.0" encoding="utf-8"?>
<ds:datastoreItem xmlns:ds="http://schemas.openxmlformats.org/officeDocument/2006/customXml" ds:itemID="{FF90CCBB-6500-4437-81BC-7BEB2BA00A45}">
  <ds:schemaRefs/>
</ds:datastoreItem>
</file>

<file path=customXml/itemProps33.xml><?xml version="1.0" encoding="utf-8"?>
<ds:datastoreItem xmlns:ds="http://schemas.openxmlformats.org/officeDocument/2006/customXml" ds:itemID="{349DE243-2753-4AF2-9E08-918D4DD6B7CB}">
  <ds:schemaRefs/>
</ds:datastoreItem>
</file>

<file path=customXml/itemProps330.xml><?xml version="1.0" encoding="utf-8"?>
<ds:datastoreItem xmlns:ds="http://schemas.openxmlformats.org/officeDocument/2006/customXml" ds:itemID="{AEF371C7-472B-4EB2-BBE1-E8C313500320}">
  <ds:schemaRefs/>
</ds:datastoreItem>
</file>

<file path=customXml/itemProps331.xml><?xml version="1.0" encoding="utf-8"?>
<ds:datastoreItem xmlns:ds="http://schemas.openxmlformats.org/officeDocument/2006/customXml" ds:itemID="{617EA001-6A4B-4A1A-8BD5-8AE1A069D7FB}">
  <ds:schemaRefs/>
</ds:datastoreItem>
</file>

<file path=customXml/itemProps332.xml><?xml version="1.0" encoding="utf-8"?>
<ds:datastoreItem xmlns:ds="http://schemas.openxmlformats.org/officeDocument/2006/customXml" ds:itemID="{9E9E9780-110D-4398-843E-8275CB2AF6E4}">
  <ds:schemaRefs/>
</ds:datastoreItem>
</file>

<file path=customXml/itemProps333.xml><?xml version="1.0" encoding="utf-8"?>
<ds:datastoreItem xmlns:ds="http://schemas.openxmlformats.org/officeDocument/2006/customXml" ds:itemID="{8E9F0F49-6068-44F7-9DF8-72B8C2F39E05}">
  <ds:schemaRefs/>
</ds:datastoreItem>
</file>

<file path=customXml/itemProps334.xml><?xml version="1.0" encoding="utf-8"?>
<ds:datastoreItem xmlns:ds="http://schemas.openxmlformats.org/officeDocument/2006/customXml" ds:itemID="{721E0693-5FDA-4A9F-8474-2B746223D2C9}">
  <ds:schemaRefs/>
</ds:datastoreItem>
</file>

<file path=customXml/itemProps335.xml><?xml version="1.0" encoding="utf-8"?>
<ds:datastoreItem xmlns:ds="http://schemas.openxmlformats.org/officeDocument/2006/customXml" ds:itemID="{798BF3B3-3413-489B-937A-7B01BA101611}">
  <ds:schemaRefs/>
</ds:datastoreItem>
</file>

<file path=customXml/itemProps336.xml><?xml version="1.0" encoding="utf-8"?>
<ds:datastoreItem xmlns:ds="http://schemas.openxmlformats.org/officeDocument/2006/customXml" ds:itemID="{E4940ACA-5C80-434B-854A-2FDF007A6FB2}">
  <ds:schemaRefs/>
</ds:datastoreItem>
</file>

<file path=customXml/itemProps337.xml><?xml version="1.0" encoding="utf-8"?>
<ds:datastoreItem xmlns:ds="http://schemas.openxmlformats.org/officeDocument/2006/customXml" ds:itemID="{31853C8A-DF10-4CA3-831A-B7CB1A2FE4F8}">
  <ds:schemaRefs/>
</ds:datastoreItem>
</file>

<file path=customXml/itemProps338.xml><?xml version="1.0" encoding="utf-8"?>
<ds:datastoreItem xmlns:ds="http://schemas.openxmlformats.org/officeDocument/2006/customXml" ds:itemID="{57655A32-C2F4-4FA1-9102-0AEB95ABBF27}">
  <ds:schemaRefs/>
</ds:datastoreItem>
</file>

<file path=customXml/itemProps339.xml><?xml version="1.0" encoding="utf-8"?>
<ds:datastoreItem xmlns:ds="http://schemas.openxmlformats.org/officeDocument/2006/customXml" ds:itemID="{73F218C0-D8CD-4E0A-B7B0-529583420FD2}">
  <ds:schemaRefs/>
</ds:datastoreItem>
</file>

<file path=customXml/itemProps34.xml><?xml version="1.0" encoding="utf-8"?>
<ds:datastoreItem xmlns:ds="http://schemas.openxmlformats.org/officeDocument/2006/customXml" ds:itemID="{B4F8211A-78B8-48F7-BF26-D12F911ED83B}">
  <ds:schemaRefs/>
</ds:datastoreItem>
</file>

<file path=customXml/itemProps340.xml><?xml version="1.0" encoding="utf-8"?>
<ds:datastoreItem xmlns:ds="http://schemas.openxmlformats.org/officeDocument/2006/customXml" ds:itemID="{5879892D-8690-4DFE-AE37-784F78344220}">
  <ds:schemaRefs/>
</ds:datastoreItem>
</file>

<file path=customXml/itemProps341.xml><?xml version="1.0" encoding="utf-8"?>
<ds:datastoreItem xmlns:ds="http://schemas.openxmlformats.org/officeDocument/2006/customXml" ds:itemID="{719F2066-72B4-412D-87F6-61FBD036CF9C}">
  <ds:schemaRefs/>
</ds:datastoreItem>
</file>

<file path=customXml/itemProps342.xml><?xml version="1.0" encoding="utf-8"?>
<ds:datastoreItem xmlns:ds="http://schemas.openxmlformats.org/officeDocument/2006/customXml" ds:itemID="{83E59BA0-C381-4B3F-B347-ECA32B02BDD7}">
  <ds:schemaRefs/>
</ds:datastoreItem>
</file>

<file path=customXml/itemProps343.xml><?xml version="1.0" encoding="utf-8"?>
<ds:datastoreItem xmlns:ds="http://schemas.openxmlformats.org/officeDocument/2006/customXml" ds:itemID="{10AFC05B-4BBE-4B13-8785-A63047642EE0}">
  <ds:schemaRefs/>
</ds:datastoreItem>
</file>

<file path=customXml/itemProps344.xml><?xml version="1.0" encoding="utf-8"?>
<ds:datastoreItem xmlns:ds="http://schemas.openxmlformats.org/officeDocument/2006/customXml" ds:itemID="{33EFC02E-8E99-42C9-B665-C2CE7170ECB9}">
  <ds:schemaRefs/>
</ds:datastoreItem>
</file>

<file path=customXml/itemProps345.xml><?xml version="1.0" encoding="utf-8"?>
<ds:datastoreItem xmlns:ds="http://schemas.openxmlformats.org/officeDocument/2006/customXml" ds:itemID="{1D461998-A688-4836-8EA9-1AD934670E0C}">
  <ds:schemaRefs/>
</ds:datastoreItem>
</file>

<file path=customXml/itemProps346.xml><?xml version="1.0" encoding="utf-8"?>
<ds:datastoreItem xmlns:ds="http://schemas.openxmlformats.org/officeDocument/2006/customXml" ds:itemID="{C476554F-8FEA-46D0-A125-0756BC949B42}">
  <ds:schemaRefs/>
</ds:datastoreItem>
</file>

<file path=customXml/itemProps347.xml><?xml version="1.0" encoding="utf-8"?>
<ds:datastoreItem xmlns:ds="http://schemas.openxmlformats.org/officeDocument/2006/customXml" ds:itemID="{6DD3E102-766B-495D-A29E-02A074F4F22B}">
  <ds:schemaRefs/>
</ds:datastoreItem>
</file>

<file path=customXml/itemProps348.xml><?xml version="1.0" encoding="utf-8"?>
<ds:datastoreItem xmlns:ds="http://schemas.openxmlformats.org/officeDocument/2006/customXml" ds:itemID="{7ED35C4A-ED1E-48EA-AAFA-CA755646EF10}">
  <ds:schemaRefs/>
</ds:datastoreItem>
</file>

<file path=customXml/itemProps349.xml><?xml version="1.0" encoding="utf-8"?>
<ds:datastoreItem xmlns:ds="http://schemas.openxmlformats.org/officeDocument/2006/customXml" ds:itemID="{8E92B9B1-0B6F-4B36-90CF-1A85A0381120}">
  <ds:schemaRefs/>
</ds:datastoreItem>
</file>

<file path=customXml/itemProps35.xml><?xml version="1.0" encoding="utf-8"?>
<ds:datastoreItem xmlns:ds="http://schemas.openxmlformats.org/officeDocument/2006/customXml" ds:itemID="{91E21384-5DB4-46E0-9715-036F5ADAB975}">
  <ds:schemaRefs/>
</ds:datastoreItem>
</file>

<file path=customXml/itemProps350.xml><?xml version="1.0" encoding="utf-8"?>
<ds:datastoreItem xmlns:ds="http://schemas.openxmlformats.org/officeDocument/2006/customXml" ds:itemID="{525A7594-B072-4B64-98A4-1858D0D149E2}">
  <ds:schemaRefs/>
</ds:datastoreItem>
</file>

<file path=customXml/itemProps351.xml><?xml version="1.0" encoding="utf-8"?>
<ds:datastoreItem xmlns:ds="http://schemas.openxmlformats.org/officeDocument/2006/customXml" ds:itemID="{EFDEEF30-FC48-4B75-A7D6-F77471A27CDC}">
  <ds:schemaRefs/>
</ds:datastoreItem>
</file>

<file path=customXml/itemProps352.xml><?xml version="1.0" encoding="utf-8"?>
<ds:datastoreItem xmlns:ds="http://schemas.openxmlformats.org/officeDocument/2006/customXml" ds:itemID="{F3BEA9F4-0DE4-4DD1-BDCC-4140EF681407}">
  <ds:schemaRefs/>
</ds:datastoreItem>
</file>

<file path=customXml/itemProps353.xml><?xml version="1.0" encoding="utf-8"?>
<ds:datastoreItem xmlns:ds="http://schemas.openxmlformats.org/officeDocument/2006/customXml" ds:itemID="{D1DFF14D-528A-4BB8-BBC9-701553CD493F}">
  <ds:schemaRefs/>
</ds:datastoreItem>
</file>

<file path=customXml/itemProps354.xml><?xml version="1.0" encoding="utf-8"?>
<ds:datastoreItem xmlns:ds="http://schemas.openxmlformats.org/officeDocument/2006/customXml" ds:itemID="{7681C2F2-FAF9-4CF8-A498-F0061359D2D6}">
  <ds:schemaRefs/>
</ds:datastoreItem>
</file>

<file path=customXml/itemProps355.xml><?xml version="1.0" encoding="utf-8"?>
<ds:datastoreItem xmlns:ds="http://schemas.openxmlformats.org/officeDocument/2006/customXml" ds:itemID="{301B6C66-B107-47BC-A7D9-17A223649975}">
  <ds:schemaRefs/>
</ds:datastoreItem>
</file>

<file path=customXml/itemProps356.xml><?xml version="1.0" encoding="utf-8"?>
<ds:datastoreItem xmlns:ds="http://schemas.openxmlformats.org/officeDocument/2006/customXml" ds:itemID="{81A5EA3A-035F-4EBA-BBBE-83CF86AC29EB}">
  <ds:schemaRefs/>
</ds:datastoreItem>
</file>

<file path=customXml/itemProps357.xml><?xml version="1.0" encoding="utf-8"?>
<ds:datastoreItem xmlns:ds="http://schemas.openxmlformats.org/officeDocument/2006/customXml" ds:itemID="{9BD2BBFD-F228-4B1B-9D2C-B08C2C1E3C11}">
  <ds:schemaRefs/>
</ds:datastoreItem>
</file>

<file path=customXml/itemProps358.xml><?xml version="1.0" encoding="utf-8"?>
<ds:datastoreItem xmlns:ds="http://schemas.openxmlformats.org/officeDocument/2006/customXml" ds:itemID="{692EBEE8-DF28-495C-8FEA-4BC68CC8B057}">
  <ds:schemaRefs/>
</ds:datastoreItem>
</file>

<file path=customXml/itemProps359.xml><?xml version="1.0" encoding="utf-8"?>
<ds:datastoreItem xmlns:ds="http://schemas.openxmlformats.org/officeDocument/2006/customXml" ds:itemID="{A14BF517-0A04-4A94-AB0F-A258D48BC9B6}">
  <ds:schemaRefs/>
</ds:datastoreItem>
</file>

<file path=customXml/itemProps36.xml><?xml version="1.0" encoding="utf-8"?>
<ds:datastoreItem xmlns:ds="http://schemas.openxmlformats.org/officeDocument/2006/customXml" ds:itemID="{5182A614-A848-4CFA-814F-1A04E85C1E6B}">
  <ds:schemaRefs/>
</ds:datastoreItem>
</file>

<file path=customXml/itemProps360.xml><?xml version="1.0" encoding="utf-8"?>
<ds:datastoreItem xmlns:ds="http://schemas.openxmlformats.org/officeDocument/2006/customXml" ds:itemID="{017F41ED-D77A-4806-A3BA-608D59570E8B}">
  <ds:schemaRefs/>
</ds:datastoreItem>
</file>

<file path=customXml/itemProps361.xml><?xml version="1.0" encoding="utf-8"?>
<ds:datastoreItem xmlns:ds="http://schemas.openxmlformats.org/officeDocument/2006/customXml" ds:itemID="{285769F5-69B0-461C-84A1-950C9BCE29DB}">
  <ds:schemaRefs/>
</ds:datastoreItem>
</file>

<file path=customXml/itemProps362.xml><?xml version="1.0" encoding="utf-8"?>
<ds:datastoreItem xmlns:ds="http://schemas.openxmlformats.org/officeDocument/2006/customXml" ds:itemID="{EE72F769-F710-4E3F-B416-BF4B28430297}">
  <ds:schemaRefs/>
</ds:datastoreItem>
</file>

<file path=customXml/itemProps363.xml><?xml version="1.0" encoding="utf-8"?>
<ds:datastoreItem xmlns:ds="http://schemas.openxmlformats.org/officeDocument/2006/customXml" ds:itemID="{3D851C5D-4C9C-42E4-A464-8CE45EABF62A}">
  <ds:schemaRefs/>
</ds:datastoreItem>
</file>

<file path=customXml/itemProps364.xml><?xml version="1.0" encoding="utf-8"?>
<ds:datastoreItem xmlns:ds="http://schemas.openxmlformats.org/officeDocument/2006/customXml" ds:itemID="{7053B4FD-DAD9-4E3A-921E-0F2806BC23FF}">
  <ds:schemaRefs/>
</ds:datastoreItem>
</file>

<file path=customXml/itemProps365.xml><?xml version="1.0" encoding="utf-8"?>
<ds:datastoreItem xmlns:ds="http://schemas.openxmlformats.org/officeDocument/2006/customXml" ds:itemID="{0DEEB359-F651-4309-8ABB-52DE61D32769}">
  <ds:schemaRefs/>
</ds:datastoreItem>
</file>

<file path=customXml/itemProps366.xml><?xml version="1.0" encoding="utf-8"?>
<ds:datastoreItem xmlns:ds="http://schemas.openxmlformats.org/officeDocument/2006/customXml" ds:itemID="{05759568-FC58-48E4-9C94-FC29C5A789BC}">
  <ds:schemaRefs/>
</ds:datastoreItem>
</file>

<file path=customXml/itemProps367.xml><?xml version="1.0" encoding="utf-8"?>
<ds:datastoreItem xmlns:ds="http://schemas.openxmlformats.org/officeDocument/2006/customXml" ds:itemID="{65C23D51-E522-4CCD-A0D3-6C7ACDB21883}">
  <ds:schemaRefs/>
</ds:datastoreItem>
</file>

<file path=customXml/itemProps368.xml><?xml version="1.0" encoding="utf-8"?>
<ds:datastoreItem xmlns:ds="http://schemas.openxmlformats.org/officeDocument/2006/customXml" ds:itemID="{15520E45-BA06-46A6-89EA-216186BA5140}">
  <ds:schemaRefs/>
</ds:datastoreItem>
</file>

<file path=customXml/itemProps369.xml><?xml version="1.0" encoding="utf-8"?>
<ds:datastoreItem xmlns:ds="http://schemas.openxmlformats.org/officeDocument/2006/customXml" ds:itemID="{48A79B2B-9E47-4ACD-B347-0F7F433D0702}">
  <ds:schemaRefs/>
</ds:datastoreItem>
</file>

<file path=customXml/itemProps37.xml><?xml version="1.0" encoding="utf-8"?>
<ds:datastoreItem xmlns:ds="http://schemas.openxmlformats.org/officeDocument/2006/customXml" ds:itemID="{846A9A60-426E-4D21-B01A-C3BD67EB5D5D}">
  <ds:schemaRefs/>
</ds:datastoreItem>
</file>

<file path=customXml/itemProps370.xml><?xml version="1.0" encoding="utf-8"?>
<ds:datastoreItem xmlns:ds="http://schemas.openxmlformats.org/officeDocument/2006/customXml" ds:itemID="{D2D1328C-1FA4-43C4-AD1C-71E318CD2BC3}">
  <ds:schemaRefs/>
</ds:datastoreItem>
</file>

<file path=customXml/itemProps371.xml><?xml version="1.0" encoding="utf-8"?>
<ds:datastoreItem xmlns:ds="http://schemas.openxmlformats.org/officeDocument/2006/customXml" ds:itemID="{314265BB-AAF6-4B81-997D-716294469C05}">
  <ds:schemaRefs/>
</ds:datastoreItem>
</file>

<file path=customXml/itemProps372.xml><?xml version="1.0" encoding="utf-8"?>
<ds:datastoreItem xmlns:ds="http://schemas.openxmlformats.org/officeDocument/2006/customXml" ds:itemID="{B01F9312-654C-450A-971F-B2741977D765}">
  <ds:schemaRefs/>
</ds:datastoreItem>
</file>

<file path=customXml/itemProps373.xml><?xml version="1.0" encoding="utf-8"?>
<ds:datastoreItem xmlns:ds="http://schemas.openxmlformats.org/officeDocument/2006/customXml" ds:itemID="{A307F89C-A32A-4592-9D6D-CD12134553F3}">
  <ds:schemaRefs/>
</ds:datastoreItem>
</file>

<file path=customXml/itemProps374.xml><?xml version="1.0" encoding="utf-8"?>
<ds:datastoreItem xmlns:ds="http://schemas.openxmlformats.org/officeDocument/2006/customXml" ds:itemID="{7F98030A-26EB-4ADF-8099-86E1625D448D}">
  <ds:schemaRefs/>
</ds:datastoreItem>
</file>

<file path=customXml/itemProps375.xml><?xml version="1.0" encoding="utf-8"?>
<ds:datastoreItem xmlns:ds="http://schemas.openxmlformats.org/officeDocument/2006/customXml" ds:itemID="{0BA0955A-DC11-4C52-99E5-89571D713E2D}">
  <ds:schemaRefs/>
</ds:datastoreItem>
</file>

<file path=customXml/itemProps376.xml><?xml version="1.0" encoding="utf-8"?>
<ds:datastoreItem xmlns:ds="http://schemas.openxmlformats.org/officeDocument/2006/customXml" ds:itemID="{076E1C1B-4559-41EB-8880-80C90FF09896}">
  <ds:schemaRefs/>
</ds:datastoreItem>
</file>

<file path=customXml/itemProps377.xml><?xml version="1.0" encoding="utf-8"?>
<ds:datastoreItem xmlns:ds="http://schemas.openxmlformats.org/officeDocument/2006/customXml" ds:itemID="{C2F92564-D430-490B-8898-C80830C720E3}">
  <ds:schemaRefs/>
</ds:datastoreItem>
</file>

<file path=customXml/itemProps378.xml><?xml version="1.0" encoding="utf-8"?>
<ds:datastoreItem xmlns:ds="http://schemas.openxmlformats.org/officeDocument/2006/customXml" ds:itemID="{67A5C602-A4F8-4C09-A21B-4D9B14502575}">
  <ds:schemaRefs/>
</ds:datastoreItem>
</file>

<file path=customXml/itemProps379.xml><?xml version="1.0" encoding="utf-8"?>
<ds:datastoreItem xmlns:ds="http://schemas.openxmlformats.org/officeDocument/2006/customXml" ds:itemID="{9FAC2FD2-DD4B-4B90-9753-EFDFBB015CF2}">
  <ds:schemaRefs/>
</ds:datastoreItem>
</file>

<file path=customXml/itemProps38.xml><?xml version="1.0" encoding="utf-8"?>
<ds:datastoreItem xmlns:ds="http://schemas.openxmlformats.org/officeDocument/2006/customXml" ds:itemID="{4EC6A3C9-B4EA-4FB5-8E1B-F5A08C719830}">
  <ds:schemaRefs/>
</ds:datastoreItem>
</file>

<file path=customXml/itemProps380.xml><?xml version="1.0" encoding="utf-8"?>
<ds:datastoreItem xmlns:ds="http://schemas.openxmlformats.org/officeDocument/2006/customXml" ds:itemID="{7DCB3E96-95F0-4C90-8E9B-F896D546A561}">
  <ds:schemaRefs/>
</ds:datastoreItem>
</file>

<file path=customXml/itemProps381.xml><?xml version="1.0" encoding="utf-8"?>
<ds:datastoreItem xmlns:ds="http://schemas.openxmlformats.org/officeDocument/2006/customXml" ds:itemID="{48625496-CA67-4C6E-85F7-3F72DBE8B377}">
  <ds:schemaRefs/>
</ds:datastoreItem>
</file>

<file path=customXml/itemProps382.xml><?xml version="1.0" encoding="utf-8"?>
<ds:datastoreItem xmlns:ds="http://schemas.openxmlformats.org/officeDocument/2006/customXml" ds:itemID="{FA43C0AA-3779-4AF9-B9F2-9995FF6D85CD}">
  <ds:schemaRefs/>
</ds:datastoreItem>
</file>

<file path=customXml/itemProps383.xml><?xml version="1.0" encoding="utf-8"?>
<ds:datastoreItem xmlns:ds="http://schemas.openxmlformats.org/officeDocument/2006/customXml" ds:itemID="{8C8ACD9A-DE50-4BF2-A4A5-8477FF93F374}">
  <ds:schemaRefs/>
</ds:datastoreItem>
</file>

<file path=customXml/itemProps384.xml><?xml version="1.0" encoding="utf-8"?>
<ds:datastoreItem xmlns:ds="http://schemas.openxmlformats.org/officeDocument/2006/customXml" ds:itemID="{24D71570-5B36-45DC-8D95-BD871C920F85}">
  <ds:schemaRefs/>
</ds:datastoreItem>
</file>

<file path=customXml/itemProps385.xml><?xml version="1.0" encoding="utf-8"?>
<ds:datastoreItem xmlns:ds="http://schemas.openxmlformats.org/officeDocument/2006/customXml" ds:itemID="{00F789D8-6B2F-442B-9B43-1DC48F9DE387}">
  <ds:schemaRefs/>
</ds:datastoreItem>
</file>

<file path=customXml/itemProps386.xml><?xml version="1.0" encoding="utf-8"?>
<ds:datastoreItem xmlns:ds="http://schemas.openxmlformats.org/officeDocument/2006/customXml" ds:itemID="{07585ED7-400A-465C-82BB-91AEA6C3A27A}">
  <ds:schemaRefs/>
</ds:datastoreItem>
</file>

<file path=customXml/itemProps387.xml><?xml version="1.0" encoding="utf-8"?>
<ds:datastoreItem xmlns:ds="http://schemas.openxmlformats.org/officeDocument/2006/customXml" ds:itemID="{943E3FCC-BBF4-4FFF-9067-2D8C630F7008}">
  <ds:schemaRefs/>
</ds:datastoreItem>
</file>

<file path=customXml/itemProps388.xml><?xml version="1.0" encoding="utf-8"?>
<ds:datastoreItem xmlns:ds="http://schemas.openxmlformats.org/officeDocument/2006/customXml" ds:itemID="{DF0A6537-E45E-48E9-B428-F3590FAB73C2}">
  <ds:schemaRefs/>
</ds:datastoreItem>
</file>

<file path=customXml/itemProps389.xml><?xml version="1.0" encoding="utf-8"?>
<ds:datastoreItem xmlns:ds="http://schemas.openxmlformats.org/officeDocument/2006/customXml" ds:itemID="{E7D0C86D-A9FE-4D5F-AAEC-1D77944C92C4}">
  <ds:schemaRefs/>
</ds:datastoreItem>
</file>

<file path=customXml/itemProps39.xml><?xml version="1.0" encoding="utf-8"?>
<ds:datastoreItem xmlns:ds="http://schemas.openxmlformats.org/officeDocument/2006/customXml" ds:itemID="{8ED585A8-1409-4418-B351-26A0342B777A}">
  <ds:schemaRefs/>
</ds:datastoreItem>
</file>

<file path=customXml/itemProps390.xml><?xml version="1.0" encoding="utf-8"?>
<ds:datastoreItem xmlns:ds="http://schemas.openxmlformats.org/officeDocument/2006/customXml" ds:itemID="{F4579A5D-E075-44AD-98F7-BB3CAEF4B060}">
  <ds:schemaRefs/>
</ds:datastoreItem>
</file>

<file path=customXml/itemProps391.xml><?xml version="1.0" encoding="utf-8"?>
<ds:datastoreItem xmlns:ds="http://schemas.openxmlformats.org/officeDocument/2006/customXml" ds:itemID="{B2E975D8-B270-4504-9888-6BAF3D07F088}">
  <ds:schemaRefs/>
</ds:datastoreItem>
</file>

<file path=customXml/itemProps392.xml><?xml version="1.0" encoding="utf-8"?>
<ds:datastoreItem xmlns:ds="http://schemas.openxmlformats.org/officeDocument/2006/customXml" ds:itemID="{4D3DB66A-63AF-4672-976C-D19ACE93DCBD}">
  <ds:schemaRefs/>
</ds:datastoreItem>
</file>

<file path=customXml/itemProps393.xml><?xml version="1.0" encoding="utf-8"?>
<ds:datastoreItem xmlns:ds="http://schemas.openxmlformats.org/officeDocument/2006/customXml" ds:itemID="{90403FB9-8CD6-4DC1-AFED-CF02E12DCC06}">
  <ds:schemaRefs/>
</ds:datastoreItem>
</file>

<file path=customXml/itemProps394.xml><?xml version="1.0" encoding="utf-8"?>
<ds:datastoreItem xmlns:ds="http://schemas.openxmlformats.org/officeDocument/2006/customXml" ds:itemID="{2E0EBF9F-091E-4D30-8A3C-40C3666063DE}">
  <ds:schemaRefs/>
</ds:datastoreItem>
</file>

<file path=customXml/itemProps395.xml><?xml version="1.0" encoding="utf-8"?>
<ds:datastoreItem xmlns:ds="http://schemas.openxmlformats.org/officeDocument/2006/customXml" ds:itemID="{84DDCD92-8DAA-4C4F-BA23-AA4D37B3FFBA}">
  <ds:schemaRefs/>
</ds:datastoreItem>
</file>

<file path=customXml/itemProps396.xml><?xml version="1.0" encoding="utf-8"?>
<ds:datastoreItem xmlns:ds="http://schemas.openxmlformats.org/officeDocument/2006/customXml" ds:itemID="{B1D4D185-28A2-4E29-A169-17A15AA64928}">
  <ds:schemaRefs/>
</ds:datastoreItem>
</file>

<file path=customXml/itemProps397.xml><?xml version="1.0" encoding="utf-8"?>
<ds:datastoreItem xmlns:ds="http://schemas.openxmlformats.org/officeDocument/2006/customXml" ds:itemID="{D0A74A7F-EB05-42E8-A42E-DCD1D79EB409}">
  <ds:schemaRefs/>
</ds:datastoreItem>
</file>

<file path=customXml/itemProps398.xml><?xml version="1.0" encoding="utf-8"?>
<ds:datastoreItem xmlns:ds="http://schemas.openxmlformats.org/officeDocument/2006/customXml" ds:itemID="{3F3AFD52-1013-4A15-9291-58253A9CD762}">
  <ds:schemaRefs/>
</ds:datastoreItem>
</file>

<file path=customXml/itemProps399.xml><?xml version="1.0" encoding="utf-8"?>
<ds:datastoreItem xmlns:ds="http://schemas.openxmlformats.org/officeDocument/2006/customXml" ds:itemID="{64640509-A956-4C11-9CD6-7E6BEA722470}">
  <ds:schemaRefs/>
</ds:datastoreItem>
</file>

<file path=customXml/itemProps4.xml><?xml version="1.0" encoding="utf-8"?>
<ds:datastoreItem xmlns:ds="http://schemas.openxmlformats.org/officeDocument/2006/customXml" ds:itemID="{33A012F8-F960-44B8-9DC4-43F0B0872FEB}">
  <ds:schemaRefs/>
</ds:datastoreItem>
</file>

<file path=customXml/itemProps40.xml><?xml version="1.0" encoding="utf-8"?>
<ds:datastoreItem xmlns:ds="http://schemas.openxmlformats.org/officeDocument/2006/customXml" ds:itemID="{73792D37-2B4C-41F9-B668-F28DF3E94A3F}">
  <ds:schemaRefs/>
</ds:datastoreItem>
</file>

<file path=customXml/itemProps400.xml><?xml version="1.0" encoding="utf-8"?>
<ds:datastoreItem xmlns:ds="http://schemas.openxmlformats.org/officeDocument/2006/customXml" ds:itemID="{9E53973F-2052-48DD-83BC-89550FEE051D}">
  <ds:schemaRefs/>
</ds:datastoreItem>
</file>

<file path=customXml/itemProps401.xml><?xml version="1.0" encoding="utf-8"?>
<ds:datastoreItem xmlns:ds="http://schemas.openxmlformats.org/officeDocument/2006/customXml" ds:itemID="{DEA2E64E-5A05-4C73-A2F0-592B0BFA5B8A}">
  <ds:schemaRefs/>
</ds:datastoreItem>
</file>

<file path=customXml/itemProps402.xml><?xml version="1.0" encoding="utf-8"?>
<ds:datastoreItem xmlns:ds="http://schemas.openxmlformats.org/officeDocument/2006/customXml" ds:itemID="{A6E9C7FF-8CBB-43A5-8652-5D2B8C3B5A3F}">
  <ds:schemaRefs/>
</ds:datastoreItem>
</file>

<file path=customXml/itemProps403.xml><?xml version="1.0" encoding="utf-8"?>
<ds:datastoreItem xmlns:ds="http://schemas.openxmlformats.org/officeDocument/2006/customXml" ds:itemID="{7541FD21-12CA-4F24-894E-B1EB5ADA37B0}">
  <ds:schemaRefs/>
</ds:datastoreItem>
</file>

<file path=customXml/itemProps404.xml><?xml version="1.0" encoding="utf-8"?>
<ds:datastoreItem xmlns:ds="http://schemas.openxmlformats.org/officeDocument/2006/customXml" ds:itemID="{BE1CCD3E-03BA-47D4-AA97-DC8A66205FF1}">
  <ds:schemaRefs/>
</ds:datastoreItem>
</file>

<file path=customXml/itemProps405.xml><?xml version="1.0" encoding="utf-8"?>
<ds:datastoreItem xmlns:ds="http://schemas.openxmlformats.org/officeDocument/2006/customXml" ds:itemID="{0C8998ED-DA46-4192-B9F2-8BBF276E91A5}">
  <ds:schemaRefs/>
</ds:datastoreItem>
</file>

<file path=customXml/itemProps406.xml><?xml version="1.0" encoding="utf-8"?>
<ds:datastoreItem xmlns:ds="http://schemas.openxmlformats.org/officeDocument/2006/customXml" ds:itemID="{A0EA0FAF-C5BB-43E4-AA47-F53C514AA6AD}">
  <ds:schemaRefs/>
</ds:datastoreItem>
</file>

<file path=customXml/itemProps407.xml><?xml version="1.0" encoding="utf-8"?>
<ds:datastoreItem xmlns:ds="http://schemas.openxmlformats.org/officeDocument/2006/customXml" ds:itemID="{556C0B6A-4921-44F2-A204-DDD53827D028}">
  <ds:schemaRefs/>
</ds:datastoreItem>
</file>

<file path=customXml/itemProps408.xml><?xml version="1.0" encoding="utf-8"?>
<ds:datastoreItem xmlns:ds="http://schemas.openxmlformats.org/officeDocument/2006/customXml" ds:itemID="{DD7BBA10-C851-430C-BB5B-3C618FC64E20}">
  <ds:schemaRefs/>
</ds:datastoreItem>
</file>

<file path=customXml/itemProps409.xml><?xml version="1.0" encoding="utf-8"?>
<ds:datastoreItem xmlns:ds="http://schemas.openxmlformats.org/officeDocument/2006/customXml" ds:itemID="{C3A3F38E-B3CA-4865-B211-E60FE3147304}">
  <ds:schemaRefs/>
</ds:datastoreItem>
</file>

<file path=customXml/itemProps41.xml><?xml version="1.0" encoding="utf-8"?>
<ds:datastoreItem xmlns:ds="http://schemas.openxmlformats.org/officeDocument/2006/customXml" ds:itemID="{DC21F208-1126-4D6B-95D3-4B9D078A2825}">
  <ds:schemaRefs/>
</ds:datastoreItem>
</file>

<file path=customXml/itemProps410.xml><?xml version="1.0" encoding="utf-8"?>
<ds:datastoreItem xmlns:ds="http://schemas.openxmlformats.org/officeDocument/2006/customXml" ds:itemID="{DF05EBED-5E85-4B21-94B3-03E162F3059D}">
  <ds:schemaRefs/>
</ds:datastoreItem>
</file>

<file path=customXml/itemProps411.xml><?xml version="1.0" encoding="utf-8"?>
<ds:datastoreItem xmlns:ds="http://schemas.openxmlformats.org/officeDocument/2006/customXml" ds:itemID="{6DA424BD-EF44-4D92-A676-03913345AA2C}">
  <ds:schemaRefs/>
</ds:datastoreItem>
</file>

<file path=customXml/itemProps412.xml><?xml version="1.0" encoding="utf-8"?>
<ds:datastoreItem xmlns:ds="http://schemas.openxmlformats.org/officeDocument/2006/customXml" ds:itemID="{4175E600-2802-49A7-B7AA-09BA669E8C60}">
  <ds:schemaRefs/>
</ds:datastoreItem>
</file>

<file path=customXml/itemProps413.xml><?xml version="1.0" encoding="utf-8"?>
<ds:datastoreItem xmlns:ds="http://schemas.openxmlformats.org/officeDocument/2006/customXml" ds:itemID="{88A2487E-BC5D-4074-B1CB-E055C19C4FE9}">
  <ds:schemaRefs/>
</ds:datastoreItem>
</file>

<file path=customXml/itemProps414.xml><?xml version="1.0" encoding="utf-8"?>
<ds:datastoreItem xmlns:ds="http://schemas.openxmlformats.org/officeDocument/2006/customXml" ds:itemID="{BBFDD77E-2C77-4D5B-9E7B-8C54B776C4EC}">
  <ds:schemaRefs/>
</ds:datastoreItem>
</file>

<file path=customXml/itemProps415.xml><?xml version="1.0" encoding="utf-8"?>
<ds:datastoreItem xmlns:ds="http://schemas.openxmlformats.org/officeDocument/2006/customXml" ds:itemID="{A62FBED0-B150-4B3C-9131-DCF8BA355E73}">
  <ds:schemaRefs/>
</ds:datastoreItem>
</file>

<file path=customXml/itemProps416.xml><?xml version="1.0" encoding="utf-8"?>
<ds:datastoreItem xmlns:ds="http://schemas.openxmlformats.org/officeDocument/2006/customXml" ds:itemID="{036D6A0C-9283-4A51-A62B-53F2926166D8}">
  <ds:schemaRefs/>
</ds:datastoreItem>
</file>

<file path=customXml/itemProps417.xml><?xml version="1.0" encoding="utf-8"?>
<ds:datastoreItem xmlns:ds="http://schemas.openxmlformats.org/officeDocument/2006/customXml" ds:itemID="{BA2652B1-C8A7-4462-8A40-3892E83C52E9}">
  <ds:schemaRefs/>
</ds:datastoreItem>
</file>

<file path=customXml/itemProps418.xml><?xml version="1.0" encoding="utf-8"?>
<ds:datastoreItem xmlns:ds="http://schemas.openxmlformats.org/officeDocument/2006/customXml" ds:itemID="{EEE2837E-AD5B-4591-82FC-96BAF6628C66}">
  <ds:schemaRefs/>
</ds:datastoreItem>
</file>

<file path=customXml/itemProps419.xml><?xml version="1.0" encoding="utf-8"?>
<ds:datastoreItem xmlns:ds="http://schemas.openxmlformats.org/officeDocument/2006/customXml" ds:itemID="{29ABDE91-55FE-4FE7-8C0C-4FF7CFF830A8}">
  <ds:schemaRefs/>
</ds:datastoreItem>
</file>

<file path=customXml/itemProps42.xml><?xml version="1.0" encoding="utf-8"?>
<ds:datastoreItem xmlns:ds="http://schemas.openxmlformats.org/officeDocument/2006/customXml" ds:itemID="{93C30FCD-6C36-4760-A971-6DDCC338B8F3}">
  <ds:schemaRefs/>
</ds:datastoreItem>
</file>

<file path=customXml/itemProps420.xml><?xml version="1.0" encoding="utf-8"?>
<ds:datastoreItem xmlns:ds="http://schemas.openxmlformats.org/officeDocument/2006/customXml" ds:itemID="{8FF04BD6-D9E2-4916-99CD-F6DC94D2A6F8}">
  <ds:schemaRefs/>
</ds:datastoreItem>
</file>

<file path=customXml/itemProps421.xml><?xml version="1.0" encoding="utf-8"?>
<ds:datastoreItem xmlns:ds="http://schemas.openxmlformats.org/officeDocument/2006/customXml" ds:itemID="{2B21D8F6-7B30-43AB-B8F1-28E3E0492F0C}">
  <ds:schemaRefs/>
</ds:datastoreItem>
</file>

<file path=customXml/itemProps422.xml><?xml version="1.0" encoding="utf-8"?>
<ds:datastoreItem xmlns:ds="http://schemas.openxmlformats.org/officeDocument/2006/customXml" ds:itemID="{D97FC017-DDBB-4E11-8B13-41EA53413809}">
  <ds:schemaRefs/>
</ds:datastoreItem>
</file>

<file path=customXml/itemProps423.xml><?xml version="1.0" encoding="utf-8"?>
<ds:datastoreItem xmlns:ds="http://schemas.openxmlformats.org/officeDocument/2006/customXml" ds:itemID="{DEEABE9F-2877-46BA-94E7-063282D59900}">
  <ds:schemaRefs/>
</ds:datastoreItem>
</file>

<file path=customXml/itemProps424.xml><?xml version="1.0" encoding="utf-8"?>
<ds:datastoreItem xmlns:ds="http://schemas.openxmlformats.org/officeDocument/2006/customXml" ds:itemID="{C803D365-4C25-46ED-9EF6-965307F31624}">
  <ds:schemaRefs/>
</ds:datastoreItem>
</file>

<file path=customXml/itemProps425.xml><?xml version="1.0" encoding="utf-8"?>
<ds:datastoreItem xmlns:ds="http://schemas.openxmlformats.org/officeDocument/2006/customXml" ds:itemID="{7C74A853-2F09-41FB-9665-1743E175B950}">
  <ds:schemaRefs/>
</ds:datastoreItem>
</file>

<file path=customXml/itemProps426.xml><?xml version="1.0" encoding="utf-8"?>
<ds:datastoreItem xmlns:ds="http://schemas.openxmlformats.org/officeDocument/2006/customXml" ds:itemID="{9203C6D5-E21B-470D-880C-31CD44B336A2}">
  <ds:schemaRefs/>
</ds:datastoreItem>
</file>

<file path=customXml/itemProps427.xml><?xml version="1.0" encoding="utf-8"?>
<ds:datastoreItem xmlns:ds="http://schemas.openxmlformats.org/officeDocument/2006/customXml" ds:itemID="{11162864-78E5-40BB-8A78-93B1D294C0C2}">
  <ds:schemaRefs/>
</ds:datastoreItem>
</file>

<file path=customXml/itemProps428.xml><?xml version="1.0" encoding="utf-8"?>
<ds:datastoreItem xmlns:ds="http://schemas.openxmlformats.org/officeDocument/2006/customXml" ds:itemID="{02F59C25-88E3-4836-B6D3-D6D3D3A69232}">
  <ds:schemaRefs/>
</ds:datastoreItem>
</file>

<file path=customXml/itemProps429.xml><?xml version="1.0" encoding="utf-8"?>
<ds:datastoreItem xmlns:ds="http://schemas.openxmlformats.org/officeDocument/2006/customXml" ds:itemID="{CF2FB655-05D4-48CC-8F86-F4C66C9E2F4E}">
  <ds:schemaRefs/>
</ds:datastoreItem>
</file>

<file path=customXml/itemProps43.xml><?xml version="1.0" encoding="utf-8"?>
<ds:datastoreItem xmlns:ds="http://schemas.openxmlformats.org/officeDocument/2006/customXml" ds:itemID="{D0F476DE-7F47-4510-BA27-B2BDB252BC99}">
  <ds:schemaRefs/>
</ds:datastoreItem>
</file>

<file path=customXml/itemProps430.xml><?xml version="1.0" encoding="utf-8"?>
<ds:datastoreItem xmlns:ds="http://schemas.openxmlformats.org/officeDocument/2006/customXml" ds:itemID="{7AA24260-6EC2-426E-9EDC-11B78B1AFA2F}">
  <ds:schemaRefs/>
</ds:datastoreItem>
</file>

<file path=customXml/itemProps431.xml><?xml version="1.0" encoding="utf-8"?>
<ds:datastoreItem xmlns:ds="http://schemas.openxmlformats.org/officeDocument/2006/customXml" ds:itemID="{B0E5C70A-7205-493D-B6B0-8F46A26B94A5}">
  <ds:schemaRefs/>
</ds:datastoreItem>
</file>

<file path=customXml/itemProps432.xml><?xml version="1.0" encoding="utf-8"?>
<ds:datastoreItem xmlns:ds="http://schemas.openxmlformats.org/officeDocument/2006/customXml" ds:itemID="{24F8CE74-D285-42AB-B2E9-C0DBA951EF89}">
  <ds:schemaRefs/>
</ds:datastoreItem>
</file>

<file path=customXml/itemProps433.xml><?xml version="1.0" encoding="utf-8"?>
<ds:datastoreItem xmlns:ds="http://schemas.openxmlformats.org/officeDocument/2006/customXml" ds:itemID="{BC36316B-FEE3-40B4-A4E6-C25729B64B64}">
  <ds:schemaRefs/>
</ds:datastoreItem>
</file>

<file path=customXml/itemProps434.xml><?xml version="1.0" encoding="utf-8"?>
<ds:datastoreItem xmlns:ds="http://schemas.openxmlformats.org/officeDocument/2006/customXml" ds:itemID="{DF829160-891C-402A-B4BE-73403E696776}">
  <ds:schemaRefs/>
</ds:datastoreItem>
</file>

<file path=customXml/itemProps435.xml><?xml version="1.0" encoding="utf-8"?>
<ds:datastoreItem xmlns:ds="http://schemas.openxmlformats.org/officeDocument/2006/customXml" ds:itemID="{56AD6AEA-C603-44E9-9903-BCAFC597F621}">
  <ds:schemaRefs/>
</ds:datastoreItem>
</file>

<file path=customXml/itemProps436.xml><?xml version="1.0" encoding="utf-8"?>
<ds:datastoreItem xmlns:ds="http://schemas.openxmlformats.org/officeDocument/2006/customXml" ds:itemID="{C5F72988-FB98-4FCC-9846-57E49AF40E22}">
  <ds:schemaRefs/>
</ds:datastoreItem>
</file>

<file path=customXml/itemProps437.xml><?xml version="1.0" encoding="utf-8"?>
<ds:datastoreItem xmlns:ds="http://schemas.openxmlformats.org/officeDocument/2006/customXml" ds:itemID="{AECF2187-37CC-4F1A-82BE-55106466602F}">
  <ds:schemaRefs/>
</ds:datastoreItem>
</file>

<file path=customXml/itemProps438.xml><?xml version="1.0" encoding="utf-8"?>
<ds:datastoreItem xmlns:ds="http://schemas.openxmlformats.org/officeDocument/2006/customXml" ds:itemID="{59E295FC-B394-409D-B89E-704A12FC7DA6}">
  <ds:schemaRefs/>
</ds:datastoreItem>
</file>

<file path=customXml/itemProps439.xml><?xml version="1.0" encoding="utf-8"?>
<ds:datastoreItem xmlns:ds="http://schemas.openxmlformats.org/officeDocument/2006/customXml" ds:itemID="{AF024D13-3BD5-4FFB-B0E0-E57F8D0F8470}">
  <ds:schemaRefs/>
</ds:datastoreItem>
</file>

<file path=customXml/itemProps44.xml><?xml version="1.0" encoding="utf-8"?>
<ds:datastoreItem xmlns:ds="http://schemas.openxmlformats.org/officeDocument/2006/customXml" ds:itemID="{1D8A83F3-05E2-449F-A70A-CD98CB39C189}">
  <ds:schemaRefs/>
</ds:datastoreItem>
</file>

<file path=customXml/itemProps440.xml><?xml version="1.0" encoding="utf-8"?>
<ds:datastoreItem xmlns:ds="http://schemas.openxmlformats.org/officeDocument/2006/customXml" ds:itemID="{D4A86023-921D-447B-AC14-BEC15AD90C28}">
  <ds:schemaRefs/>
</ds:datastoreItem>
</file>

<file path=customXml/itemProps441.xml><?xml version="1.0" encoding="utf-8"?>
<ds:datastoreItem xmlns:ds="http://schemas.openxmlformats.org/officeDocument/2006/customXml" ds:itemID="{CFC84219-1891-4A14-88C9-F86BDDE21DBE}">
  <ds:schemaRefs/>
</ds:datastoreItem>
</file>

<file path=customXml/itemProps442.xml><?xml version="1.0" encoding="utf-8"?>
<ds:datastoreItem xmlns:ds="http://schemas.openxmlformats.org/officeDocument/2006/customXml" ds:itemID="{6AAE52DD-D13E-4223-8587-A356600E0F7D}">
  <ds:schemaRefs/>
</ds:datastoreItem>
</file>

<file path=customXml/itemProps443.xml><?xml version="1.0" encoding="utf-8"?>
<ds:datastoreItem xmlns:ds="http://schemas.openxmlformats.org/officeDocument/2006/customXml" ds:itemID="{960BA06C-35DF-4B4E-AB3C-FEC667AB960C}">
  <ds:schemaRefs/>
</ds:datastoreItem>
</file>

<file path=customXml/itemProps444.xml><?xml version="1.0" encoding="utf-8"?>
<ds:datastoreItem xmlns:ds="http://schemas.openxmlformats.org/officeDocument/2006/customXml" ds:itemID="{5EA08CC1-73EC-4722-B314-57CA9238147D}">
  <ds:schemaRefs/>
</ds:datastoreItem>
</file>

<file path=customXml/itemProps445.xml><?xml version="1.0" encoding="utf-8"?>
<ds:datastoreItem xmlns:ds="http://schemas.openxmlformats.org/officeDocument/2006/customXml" ds:itemID="{FDB7ED32-009A-4C35-9D19-D09915439AB8}">
  <ds:schemaRefs/>
</ds:datastoreItem>
</file>

<file path=customXml/itemProps446.xml><?xml version="1.0" encoding="utf-8"?>
<ds:datastoreItem xmlns:ds="http://schemas.openxmlformats.org/officeDocument/2006/customXml" ds:itemID="{C57DC3D9-06FE-4139-87A4-0113C73E3CF2}">
  <ds:schemaRefs/>
</ds:datastoreItem>
</file>

<file path=customXml/itemProps447.xml><?xml version="1.0" encoding="utf-8"?>
<ds:datastoreItem xmlns:ds="http://schemas.openxmlformats.org/officeDocument/2006/customXml" ds:itemID="{AC1343CC-2995-46D1-BC70-F95F36DCFA90}">
  <ds:schemaRefs/>
</ds:datastoreItem>
</file>

<file path=customXml/itemProps448.xml><?xml version="1.0" encoding="utf-8"?>
<ds:datastoreItem xmlns:ds="http://schemas.openxmlformats.org/officeDocument/2006/customXml" ds:itemID="{574E8781-43E0-4B10-B65B-1538EC33E772}">
  <ds:schemaRefs/>
</ds:datastoreItem>
</file>

<file path=customXml/itemProps449.xml><?xml version="1.0" encoding="utf-8"?>
<ds:datastoreItem xmlns:ds="http://schemas.openxmlformats.org/officeDocument/2006/customXml" ds:itemID="{38957E9A-F88A-438A-A6E5-53DA9500BAAB}">
  <ds:schemaRefs/>
</ds:datastoreItem>
</file>

<file path=customXml/itemProps45.xml><?xml version="1.0" encoding="utf-8"?>
<ds:datastoreItem xmlns:ds="http://schemas.openxmlformats.org/officeDocument/2006/customXml" ds:itemID="{9167D01E-475C-4904-809F-CB9DFCBAB7EC}">
  <ds:schemaRefs/>
</ds:datastoreItem>
</file>

<file path=customXml/itemProps450.xml><?xml version="1.0" encoding="utf-8"?>
<ds:datastoreItem xmlns:ds="http://schemas.openxmlformats.org/officeDocument/2006/customXml" ds:itemID="{0052261B-B664-4258-944A-ECC1AF0DEC3E}">
  <ds:schemaRefs/>
</ds:datastoreItem>
</file>

<file path=customXml/itemProps451.xml><?xml version="1.0" encoding="utf-8"?>
<ds:datastoreItem xmlns:ds="http://schemas.openxmlformats.org/officeDocument/2006/customXml" ds:itemID="{695D4E9D-308F-47CE-AAAB-270F3F50339A}">
  <ds:schemaRefs/>
</ds:datastoreItem>
</file>

<file path=customXml/itemProps452.xml><?xml version="1.0" encoding="utf-8"?>
<ds:datastoreItem xmlns:ds="http://schemas.openxmlformats.org/officeDocument/2006/customXml" ds:itemID="{64E5C4AF-93C5-4261-B5D7-00DD6DE8622E}">
  <ds:schemaRefs/>
</ds:datastoreItem>
</file>

<file path=customXml/itemProps453.xml><?xml version="1.0" encoding="utf-8"?>
<ds:datastoreItem xmlns:ds="http://schemas.openxmlformats.org/officeDocument/2006/customXml" ds:itemID="{9D29A791-1907-471A-BA33-F57885145F12}">
  <ds:schemaRefs/>
</ds:datastoreItem>
</file>

<file path=customXml/itemProps454.xml><?xml version="1.0" encoding="utf-8"?>
<ds:datastoreItem xmlns:ds="http://schemas.openxmlformats.org/officeDocument/2006/customXml" ds:itemID="{9F32F147-F192-4174-B353-FE2DEF5EE2FA}">
  <ds:schemaRefs/>
</ds:datastoreItem>
</file>

<file path=customXml/itemProps455.xml><?xml version="1.0" encoding="utf-8"?>
<ds:datastoreItem xmlns:ds="http://schemas.openxmlformats.org/officeDocument/2006/customXml" ds:itemID="{AA6904C0-7C65-410C-873D-6F553F330931}">
  <ds:schemaRefs/>
</ds:datastoreItem>
</file>

<file path=customXml/itemProps456.xml><?xml version="1.0" encoding="utf-8"?>
<ds:datastoreItem xmlns:ds="http://schemas.openxmlformats.org/officeDocument/2006/customXml" ds:itemID="{0ECC6177-CB07-4DF8-B77B-8A79EF6622FB}">
  <ds:schemaRefs/>
</ds:datastoreItem>
</file>

<file path=customXml/itemProps457.xml><?xml version="1.0" encoding="utf-8"?>
<ds:datastoreItem xmlns:ds="http://schemas.openxmlformats.org/officeDocument/2006/customXml" ds:itemID="{72E7F8B7-26E6-4E1B-92D7-17BC0D302B1E}">
  <ds:schemaRefs/>
</ds:datastoreItem>
</file>

<file path=customXml/itemProps458.xml><?xml version="1.0" encoding="utf-8"?>
<ds:datastoreItem xmlns:ds="http://schemas.openxmlformats.org/officeDocument/2006/customXml" ds:itemID="{5AF25CF7-35FE-4591-B8B0-8AC72E5BEECF}">
  <ds:schemaRefs/>
</ds:datastoreItem>
</file>

<file path=customXml/itemProps459.xml><?xml version="1.0" encoding="utf-8"?>
<ds:datastoreItem xmlns:ds="http://schemas.openxmlformats.org/officeDocument/2006/customXml" ds:itemID="{0B342DA8-9644-407D-9AE4-9BB73CBE612B}">
  <ds:schemaRefs/>
</ds:datastoreItem>
</file>

<file path=customXml/itemProps46.xml><?xml version="1.0" encoding="utf-8"?>
<ds:datastoreItem xmlns:ds="http://schemas.openxmlformats.org/officeDocument/2006/customXml" ds:itemID="{8E86DDA2-5D58-40A0-AD7C-C769890AD385}">
  <ds:schemaRefs/>
</ds:datastoreItem>
</file>

<file path=customXml/itemProps460.xml><?xml version="1.0" encoding="utf-8"?>
<ds:datastoreItem xmlns:ds="http://schemas.openxmlformats.org/officeDocument/2006/customXml" ds:itemID="{60E1B4BA-2F45-40E6-A063-44A3A46AEC68}">
  <ds:schemaRefs/>
</ds:datastoreItem>
</file>

<file path=customXml/itemProps461.xml><?xml version="1.0" encoding="utf-8"?>
<ds:datastoreItem xmlns:ds="http://schemas.openxmlformats.org/officeDocument/2006/customXml" ds:itemID="{11EF935A-F156-4FA7-B029-37107B50686C}">
  <ds:schemaRefs/>
</ds:datastoreItem>
</file>

<file path=customXml/itemProps462.xml><?xml version="1.0" encoding="utf-8"?>
<ds:datastoreItem xmlns:ds="http://schemas.openxmlformats.org/officeDocument/2006/customXml" ds:itemID="{06A00BFF-D5E9-4C6E-B806-CD045347B21F}">
  <ds:schemaRefs/>
</ds:datastoreItem>
</file>

<file path=customXml/itemProps463.xml><?xml version="1.0" encoding="utf-8"?>
<ds:datastoreItem xmlns:ds="http://schemas.openxmlformats.org/officeDocument/2006/customXml" ds:itemID="{A57EAD68-CEF5-48A1-8B26-0F69DEB20DE3}">
  <ds:schemaRefs/>
</ds:datastoreItem>
</file>

<file path=customXml/itemProps464.xml><?xml version="1.0" encoding="utf-8"?>
<ds:datastoreItem xmlns:ds="http://schemas.openxmlformats.org/officeDocument/2006/customXml" ds:itemID="{9E861D20-F455-4C9C-9F34-244E802D5CAE}">
  <ds:schemaRefs/>
</ds:datastoreItem>
</file>

<file path=customXml/itemProps465.xml><?xml version="1.0" encoding="utf-8"?>
<ds:datastoreItem xmlns:ds="http://schemas.openxmlformats.org/officeDocument/2006/customXml" ds:itemID="{491B7297-8041-45B6-8CCA-79EBD6F65EC6}">
  <ds:schemaRefs/>
</ds:datastoreItem>
</file>

<file path=customXml/itemProps466.xml><?xml version="1.0" encoding="utf-8"?>
<ds:datastoreItem xmlns:ds="http://schemas.openxmlformats.org/officeDocument/2006/customXml" ds:itemID="{2D35B03F-6D14-40DB-BF61-EA601FD3BB8F}">
  <ds:schemaRefs/>
</ds:datastoreItem>
</file>

<file path=customXml/itemProps467.xml><?xml version="1.0" encoding="utf-8"?>
<ds:datastoreItem xmlns:ds="http://schemas.openxmlformats.org/officeDocument/2006/customXml" ds:itemID="{6B8F2F9B-46F4-4824-BCD6-68F3975DE37F}">
  <ds:schemaRefs/>
</ds:datastoreItem>
</file>

<file path=customXml/itemProps468.xml><?xml version="1.0" encoding="utf-8"?>
<ds:datastoreItem xmlns:ds="http://schemas.openxmlformats.org/officeDocument/2006/customXml" ds:itemID="{B24073F9-A67A-4AC8-84B3-AB6742664DBD}">
  <ds:schemaRefs/>
</ds:datastoreItem>
</file>

<file path=customXml/itemProps469.xml><?xml version="1.0" encoding="utf-8"?>
<ds:datastoreItem xmlns:ds="http://schemas.openxmlformats.org/officeDocument/2006/customXml" ds:itemID="{94AEB6D7-5E01-4003-B079-9BFFEE4B0BF9}">
  <ds:schemaRefs/>
</ds:datastoreItem>
</file>

<file path=customXml/itemProps47.xml><?xml version="1.0" encoding="utf-8"?>
<ds:datastoreItem xmlns:ds="http://schemas.openxmlformats.org/officeDocument/2006/customXml" ds:itemID="{CCE2303E-0AA7-4327-8EA4-244771914CD9}">
  <ds:schemaRefs/>
</ds:datastoreItem>
</file>

<file path=customXml/itemProps470.xml><?xml version="1.0" encoding="utf-8"?>
<ds:datastoreItem xmlns:ds="http://schemas.openxmlformats.org/officeDocument/2006/customXml" ds:itemID="{7092E6EF-D000-48B2-B8E1-8452AE9F8AB1}">
  <ds:schemaRefs/>
</ds:datastoreItem>
</file>

<file path=customXml/itemProps471.xml><?xml version="1.0" encoding="utf-8"?>
<ds:datastoreItem xmlns:ds="http://schemas.openxmlformats.org/officeDocument/2006/customXml" ds:itemID="{4C3B6210-C53C-42BB-AA02-6BEC0DA7CA20}">
  <ds:schemaRefs/>
</ds:datastoreItem>
</file>

<file path=customXml/itemProps472.xml><?xml version="1.0" encoding="utf-8"?>
<ds:datastoreItem xmlns:ds="http://schemas.openxmlformats.org/officeDocument/2006/customXml" ds:itemID="{6B3C2983-4208-4183-A914-950B56378E79}">
  <ds:schemaRefs/>
</ds:datastoreItem>
</file>

<file path=customXml/itemProps473.xml><?xml version="1.0" encoding="utf-8"?>
<ds:datastoreItem xmlns:ds="http://schemas.openxmlformats.org/officeDocument/2006/customXml" ds:itemID="{EBB501C8-71FC-469A-8D03-68CAD65D28C5}">
  <ds:schemaRefs/>
</ds:datastoreItem>
</file>

<file path=customXml/itemProps474.xml><?xml version="1.0" encoding="utf-8"?>
<ds:datastoreItem xmlns:ds="http://schemas.openxmlformats.org/officeDocument/2006/customXml" ds:itemID="{FA6C504F-DFB9-45BB-8BAA-5F2001510041}">
  <ds:schemaRefs/>
</ds:datastoreItem>
</file>

<file path=customXml/itemProps475.xml><?xml version="1.0" encoding="utf-8"?>
<ds:datastoreItem xmlns:ds="http://schemas.openxmlformats.org/officeDocument/2006/customXml" ds:itemID="{0901840E-4CA7-47A3-AD1C-FDD0F3116462}">
  <ds:schemaRefs/>
</ds:datastoreItem>
</file>

<file path=customXml/itemProps476.xml><?xml version="1.0" encoding="utf-8"?>
<ds:datastoreItem xmlns:ds="http://schemas.openxmlformats.org/officeDocument/2006/customXml" ds:itemID="{28EC891B-C366-4560-82EF-327F3D2308B5}">
  <ds:schemaRefs/>
</ds:datastoreItem>
</file>

<file path=customXml/itemProps477.xml><?xml version="1.0" encoding="utf-8"?>
<ds:datastoreItem xmlns:ds="http://schemas.openxmlformats.org/officeDocument/2006/customXml" ds:itemID="{59AC6DBE-4525-4A7A-8980-5CD11E7E4090}">
  <ds:schemaRefs/>
</ds:datastoreItem>
</file>

<file path=customXml/itemProps478.xml><?xml version="1.0" encoding="utf-8"?>
<ds:datastoreItem xmlns:ds="http://schemas.openxmlformats.org/officeDocument/2006/customXml" ds:itemID="{507A3E2B-3E02-4D6D-B659-A00564E7393B}">
  <ds:schemaRefs/>
</ds:datastoreItem>
</file>

<file path=customXml/itemProps479.xml><?xml version="1.0" encoding="utf-8"?>
<ds:datastoreItem xmlns:ds="http://schemas.openxmlformats.org/officeDocument/2006/customXml" ds:itemID="{C1AD9EA6-414A-478C-854A-8960222E8203}">
  <ds:schemaRefs/>
</ds:datastoreItem>
</file>

<file path=customXml/itemProps48.xml><?xml version="1.0" encoding="utf-8"?>
<ds:datastoreItem xmlns:ds="http://schemas.openxmlformats.org/officeDocument/2006/customXml" ds:itemID="{DF5E977F-E65D-406B-BD81-975B1942A345}">
  <ds:schemaRefs/>
</ds:datastoreItem>
</file>

<file path=customXml/itemProps480.xml><?xml version="1.0" encoding="utf-8"?>
<ds:datastoreItem xmlns:ds="http://schemas.openxmlformats.org/officeDocument/2006/customXml" ds:itemID="{C4B06555-B8F1-4F46-B988-EFE0A2BE7EEC}">
  <ds:schemaRefs/>
</ds:datastoreItem>
</file>

<file path=customXml/itemProps481.xml><?xml version="1.0" encoding="utf-8"?>
<ds:datastoreItem xmlns:ds="http://schemas.openxmlformats.org/officeDocument/2006/customXml" ds:itemID="{67377729-2BD4-4769-B560-A77A435A2D95}">
  <ds:schemaRefs/>
</ds:datastoreItem>
</file>

<file path=customXml/itemProps482.xml><?xml version="1.0" encoding="utf-8"?>
<ds:datastoreItem xmlns:ds="http://schemas.openxmlformats.org/officeDocument/2006/customXml" ds:itemID="{2D4C643D-D547-4236-B554-01770B325E27}">
  <ds:schemaRefs/>
</ds:datastoreItem>
</file>

<file path=customXml/itemProps483.xml><?xml version="1.0" encoding="utf-8"?>
<ds:datastoreItem xmlns:ds="http://schemas.openxmlformats.org/officeDocument/2006/customXml" ds:itemID="{F6B257E7-8773-4DDF-B94B-FB84C8D42A01}">
  <ds:schemaRefs/>
</ds:datastoreItem>
</file>

<file path=customXml/itemProps484.xml><?xml version="1.0" encoding="utf-8"?>
<ds:datastoreItem xmlns:ds="http://schemas.openxmlformats.org/officeDocument/2006/customXml" ds:itemID="{EDA9E6AD-8C4C-49C1-BB2B-2578D984D232}">
  <ds:schemaRefs/>
</ds:datastoreItem>
</file>

<file path=customXml/itemProps485.xml><?xml version="1.0" encoding="utf-8"?>
<ds:datastoreItem xmlns:ds="http://schemas.openxmlformats.org/officeDocument/2006/customXml" ds:itemID="{581CA18A-81E0-457E-A6B8-88B52E79EFD0}">
  <ds:schemaRefs/>
</ds:datastoreItem>
</file>

<file path=customXml/itemProps486.xml><?xml version="1.0" encoding="utf-8"?>
<ds:datastoreItem xmlns:ds="http://schemas.openxmlformats.org/officeDocument/2006/customXml" ds:itemID="{80AFEE0D-80DC-488C-8BFE-BD4AA1140DC8}">
  <ds:schemaRefs/>
</ds:datastoreItem>
</file>

<file path=customXml/itemProps487.xml><?xml version="1.0" encoding="utf-8"?>
<ds:datastoreItem xmlns:ds="http://schemas.openxmlformats.org/officeDocument/2006/customXml" ds:itemID="{ED547D0A-87E7-4EE5-BFC2-1C8C6EE1CE17}">
  <ds:schemaRefs/>
</ds:datastoreItem>
</file>

<file path=customXml/itemProps488.xml><?xml version="1.0" encoding="utf-8"?>
<ds:datastoreItem xmlns:ds="http://schemas.openxmlformats.org/officeDocument/2006/customXml" ds:itemID="{8F85000B-D678-478D-A5F9-517C204B0FA8}">
  <ds:schemaRefs/>
</ds:datastoreItem>
</file>

<file path=customXml/itemProps489.xml><?xml version="1.0" encoding="utf-8"?>
<ds:datastoreItem xmlns:ds="http://schemas.openxmlformats.org/officeDocument/2006/customXml" ds:itemID="{B8AAD08B-9401-4DF0-A06D-20FB56A38763}">
  <ds:schemaRefs/>
</ds:datastoreItem>
</file>

<file path=customXml/itemProps49.xml><?xml version="1.0" encoding="utf-8"?>
<ds:datastoreItem xmlns:ds="http://schemas.openxmlformats.org/officeDocument/2006/customXml" ds:itemID="{2F2B9F1C-4315-4778-B24B-E50E3E956CD6}">
  <ds:schemaRefs/>
</ds:datastoreItem>
</file>

<file path=customXml/itemProps490.xml><?xml version="1.0" encoding="utf-8"?>
<ds:datastoreItem xmlns:ds="http://schemas.openxmlformats.org/officeDocument/2006/customXml" ds:itemID="{79D0AFED-41F1-408C-B0F6-D9359706BBA7}">
  <ds:schemaRefs/>
</ds:datastoreItem>
</file>

<file path=customXml/itemProps491.xml><?xml version="1.0" encoding="utf-8"?>
<ds:datastoreItem xmlns:ds="http://schemas.openxmlformats.org/officeDocument/2006/customXml" ds:itemID="{14D718BE-F746-497E-8C89-09F2344E22DA}">
  <ds:schemaRefs/>
</ds:datastoreItem>
</file>

<file path=customXml/itemProps492.xml><?xml version="1.0" encoding="utf-8"?>
<ds:datastoreItem xmlns:ds="http://schemas.openxmlformats.org/officeDocument/2006/customXml" ds:itemID="{4C11927D-F003-40B0-9754-D1F661D5E6A3}">
  <ds:schemaRefs/>
</ds:datastoreItem>
</file>

<file path=customXml/itemProps493.xml><?xml version="1.0" encoding="utf-8"?>
<ds:datastoreItem xmlns:ds="http://schemas.openxmlformats.org/officeDocument/2006/customXml" ds:itemID="{C9FA63C8-6782-4BE8-8F53-D2B6D6E386B1}">
  <ds:schemaRefs/>
</ds:datastoreItem>
</file>

<file path=customXml/itemProps494.xml><?xml version="1.0" encoding="utf-8"?>
<ds:datastoreItem xmlns:ds="http://schemas.openxmlformats.org/officeDocument/2006/customXml" ds:itemID="{EF42C183-8B4E-4B6E-9C6A-B310181A662B}">
  <ds:schemaRefs/>
</ds:datastoreItem>
</file>

<file path=customXml/itemProps495.xml><?xml version="1.0" encoding="utf-8"?>
<ds:datastoreItem xmlns:ds="http://schemas.openxmlformats.org/officeDocument/2006/customXml" ds:itemID="{4614C541-3B05-4FA6-B491-CECC3E0141C5}">
  <ds:schemaRefs/>
</ds:datastoreItem>
</file>

<file path=customXml/itemProps496.xml><?xml version="1.0" encoding="utf-8"?>
<ds:datastoreItem xmlns:ds="http://schemas.openxmlformats.org/officeDocument/2006/customXml" ds:itemID="{0B79F75C-D6F0-439A-B994-5A2628FB81CE}">
  <ds:schemaRefs/>
</ds:datastoreItem>
</file>

<file path=customXml/itemProps497.xml><?xml version="1.0" encoding="utf-8"?>
<ds:datastoreItem xmlns:ds="http://schemas.openxmlformats.org/officeDocument/2006/customXml" ds:itemID="{59C81E59-B8D2-4BB6-AD90-ED5DD93F18E3}">
  <ds:schemaRefs/>
</ds:datastoreItem>
</file>

<file path=customXml/itemProps498.xml><?xml version="1.0" encoding="utf-8"?>
<ds:datastoreItem xmlns:ds="http://schemas.openxmlformats.org/officeDocument/2006/customXml" ds:itemID="{12A921C1-DA38-401D-A9CD-ABFDD0E68CEE}">
  <ds:schemaRefs/>
</ds:datastoreItem>
</file>

<file path=customXml/itemProps499.xml><?xml version="1.0" encoding="utf-8"?>
<ds:datastoreItem xmlns:ds="http://schemas.openxmlformats.org/officeDocument/2006/customXml" ds:itemID="{DFDA9B60-D66D-48EF-A5A0-C039B4F62831}">
  <ds:schemaRefs/>
</ds:datastoreItem>
</file>

<file path=customXml/itemProps5.xml><?xml version="1.0" encoding="utf-8"?>
<ds:datastoreItem xmlns:ds="http://schemas.openxmlformats.org/officeDocument/2006/customXml" ds:itemID="{7EEFF7FF-FD2B-44B0-896F-33B97BEC340D}">
  <ds:schemaRefs/>
</ds:datastoreItem>
</file>

<file path=customXml/itemProps50.xml><?xml version="1.0" encoding="utf-8"?>
<ds:datastoreItem xmlns:ds="http://schemas.openxmlformats.org/officeDocument/2006/customXml" ds:itemID="{BBD0FC50-2CCD-4364-914D-C6EDCBBE86AA}">
  <ds:schemaRefs/>
</ds:datastoreItem>
</file>

<file path=customXml/itemProps500.xml><?xml version="1.0" encoding="utf-8"?>
<ds:datastoreItem xmlns:ds="http://schemas.openxmlformats.org/officeDocument/2006/customXml" ds:itemID="{E2BB85C1-EAF9-447B-BCEB-891E1C1BCAFA}">
  <ds:schemaRefs/>
</ds:datastoreItem>
</file>

<file path=customXml/itemProps501.xml><?xml version="1.0" encoding="utf-8"?>
<ds:datastoreItem xmlns:ds="http://schemas.openxmlformats.org/officeDocument/2006/customXml" ds:itemID="{278658C8-F3E1-497C-AFDD-65ABA39C5471}">
  <ds:schemaRefs/>
</ds:datastoreItem>
</file>

<file path=customXml/itemProps502.xml><?xml version="1.0" encoding="utf-8"?>
<ds:datastoreItem xmlns:ds="http://schemas.openxmlformats.org/officeDocument/2006/customXml" ds:itemID="{96A104E0-B362-4C61-8D1D-9615C96196CC}">
  <ds:schemaRefs/>
</ds:datastoreItem>
</file>

<file path=customXml/itemProps503.xml><?xml version="1.0" encoding="utf-8"?>
<ds:datastoreItem xmlns:ds="http://schemas.openxmlformats.org/officeDocument/2006/customXml" ds:itemID="{44881C8B-26AD-4877-8FB8-79084663A67B}">
  <ds:schemaRefs/>
</ds:datastoreItem>
</file>

<file path=customXml/itemProps504.xml><?xml version="1.0" encoding="utf-8"?>
<ds:datastoreItem xmlns:ds="http://schemas.openxmlformats.org/officeDocument/2006/customXml" ds:itemID="{DAD259F7-2BFF-46C0-97A5-DB66EFEADCDA}">
  <ds:schemaRefs/>
</ds:datastoreItem>
</file>

<file path=customXml/itemProps505.xml><?xml version="1.0" encoding="utf-8"?>
<ds:datastoreItem xmlns:ds="http://schemas.openxmlformats.org/officeDocument/2006/customXml" ds:itemID="{6F527145-A2F4-4BC9-B7F6-2D095D0992D7}">
  <ds:schemaRefs/>
</ds:datastoreItem>
</file>

<file path=customXml/itemProps506.xml><?xml version="1.0" encoding="utf-8"?>
<ds:datastoreItem xmlns:ds="http://schemas.openxmlformats.org/officeDocument/2006/customXml" ds:itemID="{397505A0-AF57-4FF8-BFCA-66ACF62E6717}">
  <ds:schemaRefs/>
</ds:datastoreItem>
</file>

<file path=customXml/itemProps507.xml><?xml version="1.0" encoding="utf-8"?>
<ds:datastoreItem xmlns:ds="http://schemas.openxmlformats.org/officeDocument/2006/customXml" ds:itemID="{508F5589-1115-4CF8-A5D7-02E3FEDD8516}">
  <ds:schemaRefs/>
</ds:datastoreItem>
</file>

<file path=customXml/itemProps508.xml><?xml version="1.0" encoding="utf-8"?>
<ds:datastoreItem xmlns:ds="http://schemas.openxmlformats.org/officeDocument/2006/customXml" ds:itemID="{FC0D9A17-F3EC-4879-A4C8-BD71575639F0}">
  <ds:schemaRefs/>
</ds:datastoreItem>
</file>

<file path=customXml/itemProps509.xml><?xml version="1.0" encoding="utf-8"?>
<ds:datastoreItem xmlns:ds="http://schemas.openxmlformats.org/officeDocument/2006/customXml" ds:itemID="{66C3B4F8-0E4A-4889-A5FB-EE3F0B8D6ADA}">
  <ds:schemaRefs/>
</ds:datastoreItem>
</file>

<file path=customXml/itemProps51.xml><?xml version="1.0" encoding="utf-8"?>
<ds:datastoreItem xmlns:ds="http://schemas.openxmlformats.org/officeDocument/2006/customXml" ds:itemID="{B67D4993-789E-4837-8057-D9EF6C4EDCB8}">
  <ds:schemaRefs/>
</ds:datastoreItem>
</file>

<file path=customXml/itemProps510.xml><?xml version="1.0" encoding="utf-8"?>
<ds:datastoreItem xmlns:ds="http://schemas.openxmlformats.org/officeDocument/2006/customXml" ds:itemID="{4AEABCF2-7507-41A3-A137-ACAD3C3FA831}">
  <ds:schemaRefs/>
</ds:datastoreItem>
</file>

<file path=customXml/itemProps511.xml><?xml version="1.0" encoding="utf-8"?>
<ds:datastoreItem xmlns:ds="http://schemas.openxmlformats.org/officeDocument/2006/customXml" ds:itemID="{6C92000F-5366-4FB0-B3FE-B343312532B5}">
  <ds:schemaRefs/>
</ds:datastoreItem>
</file>

<file path=customXml/itemProps512.xml><?xml version="1.0" encoding="utf-8"?>
<ds:datastoreItem xmlns:ds="http://schemas.openxmlformats.org/officeDocument/2006/customXml" ds:itemID="{615E7EF0-4039-4334-9A6F-BEF993E063CC}">
  <ds:schemaRefs/>
</ds:datastoreItem>
</file>

<file path=customXml/itemProps513.xml><?xml version="1.0" encoding="utf-8"?>
<ds:datastoreItem xmlns:ds="http://schemas.openxmlformats.org/officeDocument/2006/customXml" ds:itemID="{D9AF8126-E12E-4C64-97C7-062B7540C084}">
  <ds:schemaRefs/>
</ds:datastoreItem>
</file>

<file path=customXml/itemProps52.xml><?xml version="1.0" encoding="utf-8"?>
<ds:datastoreItem xmlns:ds="http://schemas.openxmlformats.org/officeDocument/2006/customXml" ds:itemID="{9EEA6445-FC3C-4C19-8133-19F6A0D2F927}">
  <ds:schemaRefs/>
</ds:datastoreItem>
</file>

<file path=customXml/itemProps53.xml><?xml version="1.0" encoding="utf-8"?>
<ds:datastoreItem xmlns:ds="http://schemas.openxmlformats.org/officeDocument/2006/customXml" ds:itemID="{0EFCF8CE-70DC-4052-B117-0501A6A8CD2D}">
  <ds:schemaRefs/>
</ds:datastoreItem>
</file>

<file path=customXml/itemProps54.xml><?xml version="1.0" encoding="utf-8"?>
<ds:datastoreItem xmlns:ds="http://schemas.openxmlformats.org/officeDocument/2006/customXml" ds:itemID="{5FF1D7D3-672F-4835-9204-D0D0ABA541D1}">
  <ds:schemaRefs/>
</ds:datastoreItem>
</file>

<file path=customXml/itemProps55.xml><?xml version="1.0" encoding="utf-8"?>
<ds:datastoreItem xmlns:ds="http://schemas.openxmlformats.org/officeDocument/2006/customXml" ds:itemID="{C559AAB6-CA05-4F3A-8859-38458796A9F2}">
  <ds:schemaRefs/>
</ds:datastoreItem>
</file>

<file path=customXml/itemProps56.xml><?xml version="1.0" encoding="utf-8"?>
<ds:datastoreItem xmlns:ds="http://schemas.openxmlformats.org/officeDocument/2006/customXml" ds:itemID="{DA6662BF-CA29-4A04-AFFB-2F86E0A3E5F3}">
  <ds:schemaRefs/>
</ds:datastoreItem>
</file>

<file path=customXml/itemProps57.xml><?xml version="1.0" encoding="utf-8"?>
<ds:datastoreItem xmlns:ds="http://schemas.openxmlformats.org/officeDocument/2006/customXml" ds:itemID="{79370706-E8FB-4A1D-BB6E-D5C7B99F8B62}">
  <ds:schemaRefs/>
</ds:datastoreItem>
</file>

<file path=customXml/itemProps58.xml><?xml version="1.0" encoding="utf-8"?>
<ds:datastoreItem xmlns:ds="http://schemas.openxmlformats.org/officeDocument/2006/customXml" ds:itemID="{7CF6C073-10B3-49DE-B500-64952E2828D6}">
  <ds:schemaRefs/>
</ds:datastoreItem>
</file>

<file path=customXml/itemProps59.xml><?xml version="1.0" encoding="utf-8"?>
<ds:datastoreItem xmlns:ds="http://schemas.openxmlformats.org/officeDocument/2006/customXml" ds:itemID="{315B67F1-468B-4F28-8344-0E320A0BC833}">
  <ds:schemaRefs/>
</ds:datastoreItem>
</file>

<file path=customXml/itemProps6.xml><?xml version="1.0" encoding="utf-8"?>
<ds:datastoreItem xmlns:ds="http://schemas.openxmlformats.org/officeDocument/2006/customXml" ds:itemID="{EAD462B5-8E7A-47E9-8A46-6E731FB29BFF}">
  <ds:schemaRefs/>
</ds:datastoreItem>
</file>

<file path=customXml/itemProps60.xml><?xml version="1.0" encoding="utf-8"?>
<ds:datastoreItem xmlns:ds="http://schemas.openxmlformats.org/officeDocument/2006/customXml" ds:itemID="{7E309463-E377-45A1-BCF8-D9DB7D2B50EC}">
  <ds:schemaRefs/>
</ds:datastoreItem>
</file>

<file path=customXml/itemProps61.xml><?xml version="1.0" encoding="utf-8"?>
<ds:datastoreItem xmlns:ds="http://schemas.openxmlformats.org/officeDocument/2006/customXml" ds:itemID="{AD6D2E0D-1F3A-4B9E-8B79-F3470834C54C}">
  <ds:schemaRefs/>
</ds:datastoreItem>
</file>

<file path=customXml/itemProps62.xml><?xml version="1.0" encoding="utf-8"?>
<ds:datastoreItem xmlns:ds="http://schemas.openxmlformats.org/officeDocument/2006/customXml" ds:itemID="{406E13F6-1983-4E35-911A-FB051C725FDF}">
  <ds:schemaRefs/>
</ds:datastoreItem>
</file>

<file path=customXml/itemProps63.xml><?xml version="1.0" encoding="utf-8"?>
<ds:datastoreItem xmlns:ds="http://schemas.openxmlformats.org/officeDocument/2006/customXml" ds:itemID="{672F42A8-124A-49CD-B7FA-7D376AD80225}">
  <ds:schemaRefs/>
</ds:datastoreItem>
</file>

<file path=customXml/itemProps64.xml><?xml version="1.0" encoding="utf-8"?>
<ds:datastoreItem xmlns:ds="http://schemas.openxmlformats.org/officeDocument/2006/customXml" ds:itemID="{1E6C2CF6-AC19-4F25-8FE6-9C3F207A0B4F}">
  <ds:schemaRefs/>
</ds:datastoreItem>
</file>

<file path=customXml/itemProps65.xml><?xml version="1.0" encoding="utf-8"?>
<ds:datastoreItem xmlns:ds="http://schemas.openxmlformats.org/officeDocument/2006/customXml" ds:itemID="{11935A32-0DDF-472F-8BD3-5BE54630DB10}">
  <ds:schemaRefs/>
</ds:datastoreItem>
</file>

<file path=customXml/itemProps66.xml><?xml version="1.0" encoding="utf-8"?>
<ds:datastoreItem xmlns:ds="http://schemas.openxmlformats.org/officeDocument/2006/customXml" ds:itemID="{11BB1A5F-FBFF-4D90-B340-A506DE0685BE}">
  <ds:schemaRefs/>
</ds:datastoreItem>
</file>

<file path=customXml/itemProps67.xml><?xml version="1.0" encoding="utf-8"?>
<ds:datastoreItem xmlns:ds="http://schemas.openxmlformats.org/officeDocument/2006/customXml" ds:itemID="{C6CDAD0A-8D51-4D99-BB4B-3A3B8C22B079}">
  <ds:schemaRefs/>
</ds:datastoreItem>
</file>

<file path=customXml/itemProps68.xml><?xml version="1.0" encoding="utf-8"?>
<ds:datastoreItem xmlns:ds="http://schemas.openxmlformats.org/officeDocument/2006/customXml" ds:itemID="{A383D26D-3AD9-4850-A616-866DC6D8551C}">
  <ds:schemaRefs/>
</ds:datastoreItem>
</file>

<file path=customXml/itemProps69.xml><?xml version="1.0" encoding="utf-8"?>
<ds:datastoreItem xmlns:ds="http://schemas.openxmlformats.org/officeDocument/2006/customXml" ds:itemID="{8E2AD20A-268C-4832-B33B-8AD598A5180B}">
  <ds:schemaRefs/>
</ds:datastoreItem>
</file>

<file path=customXml/itemProps7.xml><?xml version="1.0" encoding="utf-8"?>
<ds:datastoreItem xmlns:ds="http://schemas.openxmlformats.org/officeDocument/2006/customXml" ds:itemID="{2F951CA6-2DEC-463F-9EAF-091606D106E8}">
  <ds:schemaRefs/>
</ds:datastoreItem>
</file>

<file path=customXml/itemProps70.xml><?xml version="1.0" encoding="utf-8"?>
<ds:datastoreItem xmlns:ds="http://schemas.openxmlformats.org/officeDocument/2006/customXml" ds:itemID="{19550D31-18FD-45AB-91EE-769307311014}">
  <ds:schemaRefs/>
</ds:datastoreItem>
</file>

<file path=customXml/itemProps71.xml><?xml version="1.0" encoding="utf-8"?>
<ds:datastoreItem xmlns:ds="http://schemas.openxmlformats.org/officeDocument/2006/customXml" ds:itemID="{E1A6940F-549C-4C30-855A-5BEFB219FD0E}">
  <ds:schemaRefs/>
</ds:datastoreItem>
</file>

<file path=customXml/itemProps72.xml><?xml version="1.0" encoding="utf-8"?>
<ds:datastoreItem xmlns:ds="http://schemas.openxmlformats.org/officeDocument/2006/customXml" ds:itemID="{B2292F40-2763-41D7-A705-52F5F75E1B79}">
  <ds:schemaRefs/>
</ds:datastoreItem>
</file>

<file path=customXml/itemProps73.xml><?xml version="1.0" encoding="utf-8"?>
<ds:datastoreItem xmlns:ds="http://schemas.openxmlformats.org/officeDocument/2006/customXml" ds:itemID="{A408370A-4F3A-496C-AA94-86C85A516D7B}">
  <ds:schemaRefs/>
</ds:datastoreItem>
</file>

<file path=customXml/itemProps74.xml><?xml version="1.0" encoding="utf-8"?>
<ds:datastoreItem xmlns:ds="http://schemas.openxmlformats.org/officeDocument/2006/customXml" ds:itemID="{BC3097F1-B977-41DE-9572-6DA3694173E0}">
  <ds:schemaRefs/>
</ds:datastoreItem>
</file>

<file path=customXml/itemProps75.xml><?xml version="1.0" encoding="utf-8"?>
<ds:datastoreItem xmlns:ds="http://schemas.openxmlformats.org/officeDocument/2006/customXml" ds:itemID="{6AA7D468-FD3E-45FD-9E9B-6B498EF365E8}">
  <ds:schemaRefs/>
</ds:datastoreItem>
</file>

<file path=customXml/itemProps76.xml><?xml version="1.0" encoding="utf-8"?>
<ds:datastoreItem xmlns:ds="http://schemas.openxmlformats.org/officeDocument/2006/customXml" ds:itemID="{2F39A00B-9A15-447B-B44D-F6434CB14C56}">
  <ds:schemaRefs/>
</ds:datastoreItem>
</file>

<file path=customXml/itemProps77.xml><?xml version="1.0" encoding="utf-8"?>
<ds:datastoreItem xmlns:ds="http://schemas.openxmlformats.org/officeDocument/2006/customXml" ds:itemID="{D7CCB61C-8B20-4324-B2EE-BD5BCF40647E}">
  <ds:schemaRefs/>
</ds:datastoreItem>
</file>

<file path=customXml/itemProps78.xml><?xml version="1.0" encoding="utf-8"?>
<ds:datastoreItem xmlns:ds="http://schemas.openxmlformats.org/officeDocument/2006/customXml" ds:itemID="{7898BEA7-FB1A-46FE-BAD1-C73F3E644C5F}">
  <ds:schemaRefs/>
</ds:datastoreItem>
</file>

<file path=customXml/itemProps79.xml><?xml version="1.0" encoding="utf-8"?>
<ds:datastoreItem xmlns:ds="http://schemas.openxmlformats.org/officeDocument/2006/customXml" ds:itemID="{936B70CE-6421-4469-A835-1C834E4F7181}">
  <ds:schemaRefs/>
</ds:datastoreItem>
</file>

<file path=customXml/itemProps8.xml><?xml version="1.0" encoding="utf-8"?>
<ds:datastoreItem xmlns:ds="http://schemas.openxmlformats.org/officeDocument/2006/customXml" ds:itemID="{AB8A2F6E-E1F2-413F-A6C4-D62CF90911ED}">
  <ds:schemaRefs/>
</ds:datastoreItem>
</file>

<file path=customXml/itemProps80.xml><?xml version="1.0" encoding="utf-8"?>
<ds:datastoreItem xmlns:ds="http://schemas.openxmlformats.org/officeDocument/2006/customXml" ds:itemID="{7AC932D4-2B93-44DB-BFFA-FA4A4CC9F406}">
  <ds:schemaRefs/>
</ds:datastoreItem>
</file>

<file path=customXml/itemProps81.xml><?xml version="1.0" encoding="utf-8"?>
<ds:datastoreItem xmlns:ds="http://schemas.openxmlformats.org/officeDocument/2006/customXml" ds:itemID="{9E90DEC7-A205-4890-93C3-E4925189F302}">
  <ds:schemaRefs/>
</ds:datastoreItem>
</file>

<file path=customXml/itemProps82.xml><?xml version="1.0" encoding="utf-8"?>
<ds:datastoreItem xmlns:ds="http://schemas.openxmlformats.org/officeDocument/2006/customXml" ds:itemID="{1C4F3D26-BCB3-45E8-A2E4-7EAA5C882076}">
  <ds:schemaRefs/>
</ds:datastoreItem>
</file>

<file path=customXml/itemProps83.xml><?xml version="1.0" encoding="utf-8"?>
<ds:datastoreItem xmlns:ds="http://schemas.openxmlformats.org/officeDocument/2006/customXml" ds:itemID="{6A412152-1446-4938-A610-30DB5409EBFE}">
  <ds:schemaRefs/>
</ds:datastoreItem>
</file>

<file path=customXml/itemProps84.xml><?xml version="1.0" encoding="utf-8"?>
<ds:datastoreItem xmlns:ds="http://schemas.openxmlformats.org/officeDocument/2006/customXml" ds:itemID="{81823954-06B0-43F8-9905-ED37EAD66887}">
  <ds:schemaRefs/>
</ds:datastoreItem>
</file>

<file path=customXml/itemProps85.xml><?xml version="1.0" encoding="utf-8"?>
<ds:datastoreItem xmlns:ds="http://schemas.openxmlformats.org/officeDocument/2006/customXml" ds:itemID="{A9263D79-CF91-476A-B783-2ED31F0A08A9}">
  <ds:schemaRefs/>
</ds:datastoreItem>
</file>

<file path=customXml/itemProps86.xml><?xml version="1.0" encoding="utf-8"?>
<ds:datastoreItem xmlns:ds="http://schemas.openxmlformats.org/officeDocument/2006/customXml" ds:itemID="{94ED801D-6D86-4CC7-8409-44F430D4D65B}">
  <ds:schemaRefs/>
</ds:datastoreItem>
</file>

<file path=customXml/itemProps87.xml><?xml version="1.0" encoding="utf-8"?>
<ds:datastoreItem xmlns:ds="http://schemas.openxmlformats.org/officeDocument/2006/customXml" ds:itemID="{51BE982F-46F8-4360-9DEE-93EB20866E93}">
  <ds:schemaRefs/>
</ds:datastoreItem>
</file>

<file path=customXml/itemProps88.xml><?xml version="1.0" encoding="utf-8"?>
<ds:datastoreItem xmlns:ds="http://schemas.openxmlformats.org/officeDocument/2006/customXml" ds:itemID="{3CFEB9E0-CC90-48B7-A47E-AFCCACB8B86A}">
  <ds:schemaRefs/>
</ds:datastoreItem>
</file>

<file path=customXml/itemProps89.xml><?xml version="1.0" encoding="utf-8"?>
<ds:datastoreItem xmlns:ds="http://schemas.openxmlformats.org/officeDocument/2006/customXml" ds:itemID="{1053BFCA-E5A8-43C2-8451-68EA43697149}">
  <ds:schemaRefs/>
</ds:datastoreItem>
</file>

<file path=customXml/itemProps9.xml><?xml version="1.0" encoding="utf-8"?>
<ds:datastoreItem xmlns:ds="http://schemas.openxmlformats.org/officeDocument/2006/customXml" ds:itemID="{1F3C3542-6686-458D-8E8A-EACD5ACF21C2}">
  <ds:schemaRefs/>
</ds:datastoreItem>
</file>

<file path=customXml/itemProps90.xml><?xml version="1.0" encoding="utf-8"?>
<ds:datastoreItem xmlns:ds="http://schemas.openxmlformats.org/officeDocument/2006/customXml" ds:itemID="{A08E8319-87A9-4823-A581-9FCB4BAB3AB8}">
  <ds:schemaRefs/>
</ds:datastoreItem>
</file>

<file path=customXml/itemProps91.xml><?xml version="1.0" encoding="utf-8"?>
<ds:datastoreItem xmlns:ds="http://schemas.openxmlformats.org/officeDocument/2006/customXml" ds:itemID="{9F2E9272-1AB0-4011-95AF-F01A689A7EB9}">
  <ds:schemaRefs/>
</ds:datastoreItem>
</file>

<file path=customXml/itemProps92.xml><?xml version="1.0" encoding="utf-8"?>
<ds:datastoreItem xmlns:ds="http://schemas.openxmlformats.org/officeDocument/2006/customXml" ds:itemID="{B42EEE81-DC7D-47E4-A071-EFE7178E85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c6f7d2-2fd4-4c58-add3-50ea831b733c"/>
    <ds:schemaRef ds:uri="fe0e463f-46c1-4b5a-aeae-2e65b59015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3.xml><?xml version="1.0" encoding="utf-8"?>
<ds:datastoreItem xmlns:ds="http://schemas.openxmlformats.org/officeDocument/2006/customXml" ds:itemID="{9822F446-4E13-43EA-94E3-4EA38D95C7A4}">
  <ds:schemaRefs/>
</ds:datastoreItem>
</file>

<file path=customXml/itemProps94.xml><?xml version="1.0" encoding="utf-8"?>
<ds:datastoreItem xmlns:ds="http://schemas.openxmlformats.org/officeDocument/2006/customXml" ds:itemID="{31AAFF43-243B-42FE-902B-837022D8AFF5}">
  <ds:schemaRefs/>
</ds:datastoreItem>
</file>

<file path=customXml/itemProps95.xml><?xml version="1.0" encoding="utf-8"?>
<ds:datastoreItem xmlns:ds="http://schemas.openxmlformats.org/officeDocument/2006/customXml" ds:itemID="{F3FC2773-DB45-42A8-B2FB-7AF157DF41EA}">
  <ds:schemaRefs/>
</ds:datastoreItem>
</file>

<file path=customXml/itemProps96.xml><?xml version="1.0" encoding="utf-8"?>
<ds:datastoreItem xmlns:ds="http://schemas.openxmlformats.org/officeDocument/2006/customXml" ds:itemID="{2C347D5B-690C-4691-ADC4-A876715569B4}">
  <ds:schemaRefs/>
</ds:datastoreItem>
</file>

<file path=customXml/itemProps97.xml><?xml version="1.0" encoding="utf-8"?>
<ds:datastoreItem xmlns:ds="http://schemas.openxmlformats.org/officeDocument/2006/customXml" ds:itemID="{9B4D1E6F-5863-4191-A7CB-B17BD4AC6A58}">
  <ds:schemaRefs/>
</ds:datastoreItem>
</file>

<file path=customXml/itemProps98.xml><?xml version="1.0" encoding="utf-8"?>
<ds:datastoreItem xmlns:ds="http://schemas.openxmlformats.org/officeDocument/2006/customXml" ds:itemID="{E170A501-D788-4111-9706-7DBFE455EE77}">
  <ds:schemaRefs/>
</ds:datastoreItem>
</file>

<file path=customXml/itemProps99.xml><?xml version="1.0" encoding="utf-8"?>
<ds:datastoreItem xmlns:ds="http://schemas.openxmlformats.org/officeDocument/2006/customXml" ds:itemID="{F9513FAC-691F-4094-99AD-47123C229B0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75</TotalTime>
  <Words>1575</Words>
  <Application>Microsoft Office PowerPoint</Application>
  <PresentationFormat>Широкоэкранный</PresentationFormat>
  <Paragraphs>155</Paragraphs>
  <Slides>1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ＭＳ Ｐゴシック</vt:lpstr>
      <vt:lpstr>Arial</vt:lpstr>
      <vt:lpstr>Calibri</vt:lpstr>
      <vt:lpstr>Calibri Light</vt:lpstr>
      <vt:lpstr>Times New Roman</vt:lpstr>
      <vt:lpstr>Verdana</vt:lpstr>
      <vt:lpstr>Wingdings</vt:lpstr>
      <vt:lpstr>Wingdings 2</vt:lpstr>
      <vt:lpstr>2 Slides</vt:lpstr>
      <vt:lpstr>think-cell Slide</vt:lpstr>
      <vt:lpstr>Блок 4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Business Solutions and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banova, Aleksandra</dc:creator>
  <cp:lastModifiedBy>Abdimanap</cp:lastModifiedBy>
  <cp:revision>223</cp:revision>
  <cp:lastPrinted>2014-06-25T02:16:22Z</cp:lastPrinted>
  <dcterms:created xsi:type="dcterms:W3CDTF">2022-09-20T09:25:58Z</dcterms:created>
  <dcterms:modified xsi:type="dcterms:W3CDTF">2022-10-03T11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16A684F50F9644ADA7186C7FA154E4</vt:lpwstr>
  </property>
  <property fmtid="{D5CDD505-2E9C-101B-9397-08002B2CF9AE}" pid="3" name="Hidden by">
    <vt:lpwstr>apiklyaev</vt:lpwstr>
  </property>
  <property fmtid="{D5CDD505-2E9C-101B-9397-08002B2CF9AE}" pid="4" name="Hide date">
    <vt:lpwstr>1/31/2019 4:31:53 PM</vt:lpwstr>
  </property>
  <property fmtid="{D5CDD505-2E9C-101B-9397-08002B2CF9AE}" pid="5" name="Classification">
    <vt:lpwstr>Public</vt:lpwstr>
  </property>
  <property fmtid="{D5CDD505-2E9C-101B-9397-08002B2CF9AE}" pid="6" name="TemplafyTimeStamp">
    <vt:lpwstr>2021-09-30T15:01:27.6966362Z</vt:lpwstr>
  </property>
  <property fmtid="{D5CDD505-2E9C-101B-9397-08002B2CF9AE}" pid="7" name="TemplafyTenantId">
    <vt:lpwstr>deloittecis</vt:lpwstr>
  </property>
  <property fmtid="{D5CDD505-2E9C-101B-9397-08002B2CF9AE}" pid="8" name="TemplafyTemplateId">
    <vt:lpwstr>637533843459408990</vt:lpwstr>
  </property>
  <property fmtid="{D5CDD505-2E9C-101B-9397-08002B2CF9AE}" pid="9" name="TemplafyUserProfileId">
    <vt:lpwstr>637263441004334014</vt:lpwstr>
  </property>
  <property fmtid="{D5CDD505-2E9C-101B-9397-08002B2CF9AE}" pid="10" name="TemplafyLanguageCode">
    <vt:lpwstr>en-GB</vt:lpwstr>
  </property>
</Properties>
</file>